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6" r:id="rId4"/>
    <p:sldMasterId id="2147483740" r:id="rId5"/>
  </p:sldMasterIdLst>
  <p:notesMasterIdLst>
    <p:notesMasterId r:id="rId22"/>
  </p:notesMasterIdLst>
  <p:handoutMasterIdLst>
    <p:handoutMasterId r:id="rId23"/>
  </p:handoutMasterIdLst>
  <p:sldIdLst>
    <p:sldId id="273" r:id="rId6"/>
    <p:sldId id="264" r:id="rId7"/>
    <p:sldId id="256" r:id="rId8"/>
    <p:sldId id="328" r:id="rId9"/>
    <p:sldId id="311" r:id="rId10"/>
    <p:sldId id="327" r:id="rId11"/>
    <p:sldId id="298" r:id="rId12"/>
    <p:sldId id="312" r:id="rId13"/>
    <p:sldId id="320" r:id="rId14"/>
    <p:sldId id="321" r:id="rId15"/>
    <p:sldId id="322" r:id="rId16"/>
    <p:sldId id="291" r:id="rId17"/>
    <p:sldId id="329" r:id="rId18"/>
    <p:sldId id="324" r:id="rId19"/>
    <p:sldId id="326" r:id="rId20"/>
    <p:sldId id="268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4CD759-3680-8BC6-37DA-28649D3BBEBC}" name="Linda Hagerty-Dotterer" initials="LHD" userId="S::Linda.Hagerty-Dotterer@axaltacs.com::8b7bbf3f-53a4-46dd-9c80-e99c2c539444" providerId="AD"/>
  <p188:author id="{45332EA3-C347-5DC1-1328-26B1074797C9}" name="Heather Walling" initials="HW" userId="S::heather.marter@axaltacs.com::63c622e1-4036-4a26-a07f-0c2bf54ba91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cea Coccellato" initials="AC" lastIdx="3" clrIdx="0">
    <p:extLst>
      <p:ext uri="{19B8F6BF-5375-455C-9EA6-DF929625EA0E}">
        <p15:presenceInfo xmlns:p15="http://schemas.microsoft.com/office/powerpoint/2012/main" userId="S-1-5-21-3535362370-1053918279-1997843413-1081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B53B"/>
    <a:srgbClr val="A9B825"/>
    <a:srgbClr val="065FAE"/>
    <a:srgbClr val="C82127"/>
    <a:srgbClr val="DDDDDD"/>
    <a:srgbClr val="000000"/>
    <a:srgbClr val="D81A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124C45-6A62-4AC9-5CA3-FC8F0DB97FFA}" v="1" dt="2022-04-06T20:50:51.066"/>
    <p1510:client id="{849BEEA4-BCC1-2752-ADD5-DCB96801662A}" v="5" dt="2022-04-06T19:45:32.4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DF621B-FDA0-FB4D-8306-562D1979D8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A3B3DD-9551-AC4A-98CA-7E62E872C0AC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26F76-86EB-EE45-87AB-8E41EF770AD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457E3A-12EC-5E43-BF20-6EE7F485E4C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1ADC6A-7891-5A40-BD5D-AFCFC2B5D7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0217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1CAA2D-F3FB-F946-AA64-6A16DF4AA7A3}" type="datetimeFigureOut">
              <a:rPr lang="en-US" smtClean="0"/>
              <a:t>5/3/20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7DB8E7-E671-4242-BF52-C2C90B54E4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808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DB8E7-E671-4242-BF52-C2C90B54E49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74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1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F410FB3D-C2B0-1C42-B820-ACB998D078AB}"/>
              </a:ext>
            </a:extLst>
          </p:cNvPr>
          <p:cNvSpPr/>
          <p:nvPr userDrawn="1"/>
        </p:nvSpPr>
        <p:spPr>
          <a:xfrm>
            <a:off x="0" y="6415088"/>
            <a:ext cx="12192000" cy="4429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226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Title 1">
            <a:extLst>
              <a:ext uri="{FF2B5EF4-FFF2-40B4-BE49-F238E27FC236}">
                <a16:creationId xmlns:a16="http://schemas.microsoft.com/office/drawing/2014/main" id="{D32B19E8-ECDB-8E45-8F9D-6C8BEE817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817" y="2875986"/>
            <a:ext cx="6554922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46" name="Text Placeholder 33">
            <a:extLst>
              <a:ext uri="{FF2B5EF4-FFF2-40B4-BE49-F238E27FC236}">
                <a16:creationId xmlns:a16="http://schemas.microsoft.com/office/drawing/2014/main" id="{E74A2B0F-32B3-CC40-9CB7-8EFFCE26C8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7682" y="3719449"/>
            <a:ext cx="6554922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EE96AA9-6C7E-8D44-9338-481ACB46B1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8118" y="0"/>
            <a:ext cx="3592270" cy="3643406"/>
          </a:xfrm>
          <a:custGeom>
            <a:avLst/>
            <a:gdLst>
              <a:gd name="connsiteX0" fmla="*/ 782643 w 3592270"/>
              <a:gd name="connsiteY0" fmla="*/ 0 h 3643406"/>
              <a:gd name="connsiteX1" fmla="*/ 3592270 w 3592270"/>
              <a:gd name="connsiteY1" fmla="*/ 0 h 3643406"/>
              <a:gd name="connsiteX2" fmla="*/ 2810156 w 3592270"/>
              <a:gd name="connsiteY2" fmla="*/ 3643406 h 3643406"/>
              <a:gd name="connsiteX3" fmla="*/ 0 w 3592270"/>
              <a:gd name="connsiteY3" fmla="*/ 3643406 h 3643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2270" h="3643406">
                <a:moveTo>
                  <a:pt x="782643" y="0"/>
                </a:moveTo>
                <a:lnTo>
                  <a:pt x="3592270" y="0"/>
                </a:lnTo>
                <a:lnTo>
                  <a:pt x="2810156" y="3643406"/>
                </a:lnTo>
                <a:lnTo>
                  <a:pt x="0" y="364340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7F409A4C-586A-FB4C-AEE4-5627F4FBFD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89552" y="3811929"/>
            <a:ext cx="3463876" cy="3046071"/>
          </a:xfrm>
          <a:custGeom>
            <a:avLst/>
            <a:gdLst>
              <a:gd name="connsiteX0" fmla="*/ 654329 w 3463876"/>
              <a:gd name="connsiteY0" fmla="*/ 0 h 3046071"/>
              <a:gd name="connsiteX1" fmla="*/ 3463876 w 3463876"/>
              <a:gd name="connsiteY1" fmla="*/ 0 h 3046071"/>
              <a:gd name="connsiteX2" fmla="*/ 2809989 w 3463876"/>
              <a:gd name="connsiteY2" fmla="*/ 3046071 h 3046071"/>
              <a:gd name="connsiteX3" fmla="*/ 0 w 3463876"/>
              <a:gd name="connsiteY3" fmla="*/ 3046071 h 3046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3876" h="3046071">
                <a:moveTo>
                  <a:pt x="654329" y="0"/>
                </a:moveTo>
                <a:lnTo>
                  <a:pt x="3463876" y="0"/>
                </a:lnTo>
                <a:lnTo>
                  <a:pt x="2809989" y="3046071"/>
                </a:lnTo>
                <a:lnTo>
                  <a:pt x="0" y="3046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4" name="Picture Placeholder 73">
            <a:extLst>
              <a:ext uri="{FF2B5EF4-FFF2-40B4-BE49-F238E27FC236}">
                <a16:creationId xmlns:a16="http://schemas.microsoft.com/office/drawing/2014/main" id="{4F5CF663-E11C-F94F-A0F2-2ADADF4634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45113" y="0"/>
            <a:ext cx="1746887" cy="2891051"/>
          </a:xfrm>
          <a:custGeom>
            <a:avLst/>
            <a:gdLst>
              <a:gd name="connsiteX0" fmla="*/ 621028 w 1746887"/>
              <a:gd name="connsiteY0" fmla="*/ 0 h 2891051"/>
              <a:gd name="connsiteX1" fmla="*/ 1746887 w 1746887"/>
              <a:gd name="connsiteY1" fmla="*/ 0 h 2891051"/>
              <a:gd name="connsiteX2" fmla="*/ 1746887 w 1746887"/>
              <a:gd name="connsiteY2" fmla="*/ 2891051 h 2891051"/>
              <a:gd name="connsiteX3" fmla="*/ 0 w 1746887"/>
              <a:gd name="connsiteY3" fmla="*/ 2891051 h 2891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6887" h="2891051">
                <a:moveTo>
                  <a:pt x="621028" y="0"/>
                </a:moveTo>
                <a:lnTo>
                  <a:pt x="1746887" y="0"/>
                </a:lnTo>
                <a:lnTo>
                  <a:pt x="1746887" y="2891051"/>
                </a:lnTo>
                <a:lnTo>
                  <a:pt x="0" y="28910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2" name="Picture Placeholder 71">
            <a:extLst>
              <a:ext uri="{FF2B5EF4-FFF2-40B4-BE49-F238E27FC236}">
                <a16:creationId xmlns:a16="http://schemas.microsoft.com/office/drawing/2014/main" id="{002FBD2F-6C1A-474F-98F0-F62CC1F9F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84934" y="3059574"/>
            <a:ext cx="2607067" cy="3798426"/>
          </a:xfrm>
          <a:custGeom>
            <a:avLst/>
            <a:gdLst>
              <a:gd name="connsiteX0" fmla="*/ 815942 w 2607067"/>
              <a:gd name="connsiteY0" fmla="*/ 0 h 3798426"/>
              <a:gd name="connsiteX1" fmla="*/ 2607067 w 2607067"/>
              <a:gd name="connsiteY1" fmla="*/ 0 h 3798426"/>
              <a:gd name="connsiteX2" fmla="*/ 2607067 w 2607067"/>
              <a:gd name="connsiteY2" fmla="*/ 3798426 h 3798426"/>
              <a:gd name="connsiteX3" fmla="*/ 0 w 2607067"/>
              <a:gd name="connsiteY3" fmla="*/ 3798426 h 3798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067" h="3798426">
                <a:moveTo>
                  <a:pt x="815942" y="0"/>
                </a:moveTo>
                <a:lnTo>
                  <a:pt x="2607067" y="0"/>
                </a:lnTo>
                <a:lnTo>
                  <a:pt x="2607067" y="3798426"/>
                </a:lnTo>
                <a:lnTo>
                  <a:pt x="0" y="379842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3F27DB-CECF-B34D-BE6F-92021540BE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74208" y="308070"/>
            <a:ext cx="1649428" cy="133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129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27CF22-E796-4F45-9411-51737734ACEA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039261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E23D63E-E1BE-DB4B-83D0-78CB53306B7A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063EC71-A7F4-8241-88FB-66CBE1DC92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64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D34205-8D1A-934F-B872-4AC83D5A91F6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35971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200B38-D571-F94E-A012-719AD618A2AB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2529533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291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988823-420A-9643-AEA6-E95824A05803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6432206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train on the railway tracks&#10;&#10;Description automatically generated">
            <a:extLst>
              <a:ext uri="{FF2B5EF4-FFF2-40B4-BE49-F238E27FC236}">
                <a16:creationId xmlns:a16="http://schemas.microsoft.com/office/drawing/2014/main" id="{B551A611-61AB-4545-8338-3E217FB9D3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7417AD-C3C9-0348-AD5B-A47FE751E7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465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DB6D1F-C6A2-0447-8545-F4AB7B9EACBB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EC3FBCA-4FAB-9245-8649-7ED896243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F2F73B40-EFCD-DE4A-BC24-AAE3EA787C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905032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615CB8D-0C73-D745-B04E-32C73C840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5A08FB-734A-144E-B6D5-3A945F8B7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4123673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99431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7B5A7D-6B35-4742-AE1A-C60E81B743DE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53406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101CBD-C910-6F44-84B7-50BE45993A69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393284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roof&#10;&#10;Description automatically generated with low confidence">
            <a:extLst>
              <a:ext uri="{FF2B5EF4-FFF2-40B4-BE49-F238E27FC236}">
                <a16:creationId xmlns:a16="http://schemas.microsoft.com/office/drawing/2014/main" id="{D15CA668-00C2-724E-8F33-2EAA3EADB9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944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5BC91D-4AA0-324A-8B03-356F4246C6EB}"/>
              </a:ext>
            </a:extLst>
          </p:cNvPr>
          <p:cNvSpPr/>
          <p:nvPr userDrawn="1"/>
        </p:nvSpPr>
        <p:spPr>
          <a:xfrm>
            <a:off x="0" y="0"/>
            <a:ext cx="12192000" cy="694481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16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itle 1">
            <a:extLst>
              <a:ext uri="{FF2B5EF4-FFF2-40B4-BE49-F238E27FC236}">
                <a16:creationId xmlns:a16="http://schemas.microsoft.com/office/drawing/2014/main" id="{CEFD114C-8338-254A-BAE3-8580CE240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016" y="2875986"/>
            <a:ext cx="10810239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" name="Text Placeholder 33">
            <a:extLst>
              <a:ext uri="{FF2B5EF4-FFF2-40B4-BE49-F238E27FC236}">
                <a16:creationId xmlns:a16="http://schemas.microsoft.com/office/drawing/2014/main" id="{37A94493-B828-E341-A309-9D47CF6F02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4881" y="3719449"/>
            <a:ext cx="10810239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A52321D-5DC6-4142-9CC7-DA98A9CF65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81" y="1642685"/>
            <a:ext cx="1249434" cy="93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06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29843C-DA78-8549-922E-54C0EC77715F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35588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4D62D9-B087-A14E-A42C-E840F1E2C02A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59F4DF3-8DDB-4B4C-9B05-D9C310F1AC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367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9CF0FA-BE89-0441-8E1B-9B887D504654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61473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360A1BB-AF32-354B-8388-5B59FCBFFEB3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46765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57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B50C3B-4CD5-7D40-ABF7-53366F969875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0325370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- up of a building&#10;&#10;Description automatically generated with low confidence">
            <a:extLst>
              <a:ext uri="{FF2B5EF4-FFF2-40B4-BE49-F238E27FC236}">
                <a16:creationId xmlns:a16="http://schemas.microsoft.com/office/drawing/2014/main" id="{8A5FC307-6646-3D49-80AE-9F1F36B7F4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B25C74B-1265-AC41-9D05-610D8DE288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848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3FC62F2-D118-DF48-8D9C-55238B215983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CA715A0-11AB-8741-9BD3-19F545D3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54C12249-E6FA-D240-B014-879157FE9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9425689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29FD7DA-28DD-A34F-800F-C9E44F3AF6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5A08FB-734A-144E-B6D5-3A945F8B7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85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6782184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7309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320AC00-78D5-4141-A831-2DB1D13D0B24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9192536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50AC5A-B040-5A42-8A14-293D766ED137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78044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F410FB3D-C2B0-1C42-B820-ACB998D078AB}"/>
              </a:ext>
            </a:extLst>
          </p:cNvPr>
          <p:cNvSpPr/>
          <p:nvPr userDrawn="1"/>
        </p:nvSpPr>
        <p:spPr>
          <a:xfrm>
            <a:off x="0" y="6415088"/>
            <a:ext cx="12192000" cy="4429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796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picture containing floor, indoor, building, airport&#10;&#10;Description automatically generated">
            <a:extLst>
              <a:ext uri="{FF2B5EF4-FFF2-40B4-BE49-F238E27FC236}">
                <a16:creationId xmlns:a16="http://schemas.microsoft.com/office/drawing/2014/main" id="{6CDC3C0F-2674-954F-9299-7CD995535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8890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E8D2DA5-4542-E84F-A842-6CAF47091E11}"/>
              </a:ext>
            </a:extLst>
          </p:cNvPr>
          <p:cNvSpPr/>
          <p:nvPr userDrawn="1"/>
        </p:nvSpPr>
        <p:spPr>
          <a:xfrm>
            <a:off x="0" y="0"/>
            <a:ext cx="12192000" cy="3900488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82AA0F7-C0F1-394A-B652-F0D3E2C93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272" y="1704411"/>
            <a:ext cx="9387078" cy="715626"/>
          </a:xfrm>
        </p:spPr>
        <p:txBody>
          <a:bodyPr wrap="square" lIns="0" tIns="0" rIns="0" bIns="0" anchor="t">
            <a:noAutofit/>
          </a:bodyPr>
          <a:lstStyle>
            <a:lvl1pPr algn="ctr">
              <a:defRPr sz="5400" spc="3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90009435-2AA1-1E43-8951-931FC3F043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272" y="2547873"/>
            <a:ext cx="9387078" cy="395352"/>
          </a:xfrm>
        </p:spPr>
        <p:txBody>
          <a:bodyPr lIns="0" tIns="0" rIns="0" bIns="0">
            <a:noAutofit/>
          </a:bodyPr>
          <a:lstStyle>
            <a:lvl1pPr marL="12700" indent="-12700" algn="ctr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2AE878-7BDC-F64A-AC3E-DC33F47411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37644" y="4481042"/>
            <a:ext cx="2316712" cy="187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606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7FE8954-3390-FA4B-B8E4-B07707AAB4D8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2386430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CBA9E8F-4A0D-E145-8FDA-9A3D48BA9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48A241-3EE3-E540-8A72-B8F6C21D88BA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018361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28863AF-FBBC-EF44-B25D-99C884926079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5672751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A6E04B-ECBF-3D41-A78B-0FFAEAFCDBA0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001415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693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601846F-2BFF-AF4F-894F-A3D4974B4D0A}"/>
              </a:ext>
            </a:extLst>
          </p:cNvPr>
          <p:cNvCxnSpPr>
            <a:cxnSpLocks/>
          </p:cNvCxnSpPr>
          <p:nvPr userDrawn="1"/>
        </p:nvCxnSpPr>
        <p:spPr>
          <a:xfrm>
            <a:off x="77314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646304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0515600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17694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F410FB3D-C2B0-1C42-B820-ACB998D078AB}"/>
              </a:ext>
            </a:extLst>
          </p:cNvPr>
          <p:cNvSpPr/>
          <p:nvPr userDrawn="1"/>
        </p:nvSpPr>
        <p:spPr>
          <a:xfrm>
            <a:off x="0" y="6415088"/>
            <a:ext cx="12192000" cy="4429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2F653A25-1815-ED4E-8AB5-77CFCFF1D0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086" y="508849"/>
            <a:ext cx="1249434" cy="937075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226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Title 1">
            <a:extLst>
              <a:ext uri="{FF2B5EF4-FFF2-40B4-BE49-F238E27FC236}">
                <a16:creationId xmlns:a16="http://schemas.microsoft.com/office/drawing/2014/main" id="{D32B19E8-ECDB-8E45-8F9D-6C8BEE817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817" y="2875986"/>
            <a:ext cx="6554922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46" name="Text Placeholder 33">
            <a:extLst>
              <a:ext uri="{FF2B5EF4-FFF2-40B4-BE49-F238E27FC236}">
                <a16:creationId xmlns:a16="http://schemas.microsoft.com/office/drawing/2014/main" id="{E74A2B0F-32B3-CC40-9CB7-8EFFCE26C8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7682" y="3719449"/>
            <a:ext cx="6554922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EE96AA9-6C7E-8D44-9338-481ACB46B1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88118" y="0"/>
            <a:ext cx="3592270" cy="3643406"/>
          </a:xfrm>
          <a:custGeom>
            <a:avLst/>
            <a:gdLst>
              <a:gd name="connsiteX0" fmla="*/ 782643 w 3592270"/>
              <a:gd name="connsiteY0" fmla="*/ 0 h 3643406"/>
              <a:gd name="connsiteX1" fmla="*/ 3592270 w 3592270"/>
              <a:gd name="connsiteY1" fmla="*/ 0 h 3643406"/>
              <a:gd name="connsiteX2" fmla="*/ 2810156 w 3592270"/>
              <a:gd name="connsiteY2" fmla="*/ 3643406 h 3643406"/>
              <a:gd name="connsiteX3" fmla="*/ 0 w 3592270"/>
              <a:gd name="connsiteY3" fmla="*/ 3643406 h 3643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2270" h="3643406">
                <a:moveTo>
                  <a:pt x="782643" y="0"/>
                </a:moveTo>
                <a:lnTo>
                  <a:pt x="3592270" y="0"/>
                </a:lnTo>
                <a:lnTo>
                  <a:pt x="2810156" y="3643406"/>
                </a:lnTo>
                <a:lnTo>
                  <a:pt x="0" y="364340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id="{7F409A4C-586A-FB4C-AEE4-5627F4FBFD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89552" y="3811929"/>
            <a:ext cx="3463876" cy="3046071"/>
          </a:xfrm>
          <a:custGeom>
            <a:avLst/>
            <a:gdLst>
              <a:gd name="connsiteX0" fmla="*/ 654329 w 3463876"/>
              <a:gd name="connsiteY0" fmla="*/ 0 h 3046071"/>
              <a:gd name="connsiteX1" fmla="*/ 3463876 w 3463876"/>
              <a:gd name="connsiteY1" fmla="*/ 0 h 3046071"/>
              <a:gd name="connsiteX2" fmla="*/ 2809989 w 3463876"/>
              <a:gd name="connsiteY2" fmla="*/ 3046071 h 3046071"/>
              <a:gd name="connsiteX3" fmla="*/ 0 w 3463876"/>
              <a:gd name="connsiteY3" fmla="*/ 3046071 h 3046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3876" h="3046071">
                <a:moveTo>
                  <a:pt x="654329" y="0"/>
                </a:moveTo>
                <a:lnTo>
                  <a:pt x="3463876" y="0"/>
                </a:lnTo>
                <a:lnTo>
                  <a:pt x="2809989" y="3046071"/>
                </a:lnTo>
                <a:lnTo>
                  <a:pt x="0" y="3046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4" name="Picture Placeholder 73">
            <a:extLst>
              <a:ext uri="{FF2B5EF4-FFF2-40B4-BE49-F238E27FC236}">
                <a16:creationId xmlns:a16="http://schemas.microsoft.com/office/drawing/2014/main" id="{4F5CF663-E11C-F94F-A0F2-2ADADF4634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45113" y="0"/>
            <a:ext cx="1746887" cy="2891051"/>
          </a:xfrm>
          <a:custGeom>
            <a:avLst/>
            <a:gdLst>
              <a:gd name="connsiteX0" fmla="*/ 621028 w 1746887"/>
              <a:gd name="connsiteY0" fmla="*/ 0 h 2891051"/>
              <a:gd name="connsiteX1" fmla="*/ 1746887 w 1746887"/>
              <a:gd name="connsiteY1" fmla="*/ 0 h 2891051"/>
              <a:gd name="connsiteX2" fmla="*/ 1746887 w 1746887"/>
              <a:gd name="connsiteY2" fmla="*/ 2891051 h 2891051"/>
              <a:gd name="connsiteX3" fmla="*/ 0 w 1746887"/>
              <a:gd name="connsiteY3" fmla="*/ 2891051 h 2891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6887" h="2891051">
                <a:moveTo>
                  <a:pt x="621028" y="0"/>
                </a:moveTo>
                <a:lnTo>
                  <a:pt x="1746887" y="0"/>
                </a:lnTo>
                <a:lnTo>
                  <a:pt x="1746887" y="2891051"/>
                </a:lnTo>
                <a:lnTo>
                  <a:pt x="0" y="289105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2" name="Picture Placeholder 71">
            <a:extLst>
              <a:ext uri="{FF2B5EF4-FFF2-40B4-BE49-F238E27FC236}">
                <a16:creationId xmlns:a16="http://schemas.microsoft.com/office/drawing/2014/main" id="{002FBD2F-6C1A-474F-98F0-F62CC1F9F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84934" y="3059574"/>
            <a:ext cx="2607067" cy="3798426"/>
          </a:xfrm>
          <a:custGeom>
            <a:avLst/>
            <a:gdLst>
              <a:gd name="connsiteX0" fmla="*/ 815942 w 2607067"/>
              <a:gd name="connsiteY0" fmla="*/ 0 h 3798426"/>
              <a:gd name="connsiteX1" fmla="*/ 2607067 w 2607067"/>
              <a:gd name="connsiteY1" fmla="*/ 0 h 3798426"/>
              <a:gd name="connsiteX2" fmla="*/ 2607067 w 2607067"/>
              <a:gd name="connsiteY2" fmla="*/ 3798426 h 3798426"/>
              <a:gd name="connsiteX3" fmla="*/ 0 w 2607067"/>
              <a:gd name="connsiteY3" fmla="*/ 3798426 h 3798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067" h="3798426">
                <a:moveTo>
                  <a:pt x="815942" y="0"/>
                </a:moveTo>
                <a:lnTo>
                  <a:pt x="2607067" y="0"/>
                </a:lnTo>
                <a:lnTo>
                  <a:pt x="2607067" y="3798426"/>
                </a:lnTo>
                <a:lnTo>
                  <a:pt x="0" y="379842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164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photo of a roof&#10;&#10;Description automatically generated with low confidence">
            <a:extLst>
              <a:ext uri="{FF2B5EF4-FFF2-40B4-BE49-F238E27FC236}">
                <a16:creationId xmlns:a16="http://schemas.microsoft.com/office/drawing/2014/main" id="{D15CA668-00C2-724E-8F33-2EAA3EADB9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944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5BC91D-4AA0-324A-8B03-356F4246C6EB}"/>
              </a:ext>
            </a:extLst>
          </p:cNvPr>
          <p:cNvSpPr/>
          <p:nvPr userDrawn="1"/>
        </p:nvSpPr>
        <p:spPr>
          <a:xfrm>
            <a:off x="0" y="0"/>
            <a:ext cx="12192000" cy="694481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16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itle 1">
            <a:extLst>
              <a:ext uri="{FF2B5EF4-FFF2-40B4-BE49-F238E27FC236}">
                <a16:creationId xmlns:a16="http://schemas.microsoft.com/office/drawing/2014/main" id="{CEFD114C-8338-254A-BAE3-8580CE240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016" y="2875986"/>
            <a:ext cx="10810239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" name="Text Placeholder 33">
            <a:extLst>
              <a:ext uri="{FF2B5EF4-FFF2-40B4-BE49-F238E27FC236}">
                <a16:creationId xmlns:a16="http://schemas.microsoft.com/office/drawing/2014/main" id="{37A94493-B828-E341-A309-9D47CF6F02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4881" y="3719449"/>
            <a:ext cx="10810239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A52321D-5DC6-4142-9CC7-DA98A9CF65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81" y="1642685"/>
            <a:ext cx="1249434" cy="93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307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0A23563-BB6F-1843-8F3F-296F10DF38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6672" y="4776049"/>
            <a:ext cx="1678656" cy="1258991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410FB3D-C2B0-1C42-B820-ACB998D078AB}"/>
              </a:ext>
            </a:extLst>
          </p:cNvPr>
          <p:cNvSpPr/>
          <p:nvPr userDrawn="1"/>
        </p:nvSpPr>
        <p:spPr>
          <a:xfrm>
            <a:off x="0" y="6415088"/>
            <a:ext cx="12192000" cy="4429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796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picture containing floor, indoor, building, airport&#10;&#10;Description automatically generated">
            <a:extLst>
              <a:ext uri="{FF2B5EF4-FFF2-40B4-BE49-F238E27FC236}">
                <a16:creationId xmlns:a16="http://schemas.microsoft.com/office/drawing/2014/main" id="{6CDC3C0F-2674-954F-9299-7CD995535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8890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E8D2DA5-4542-E84F-A842-6CAF47091E11}"/>
              </a:ext>
            </a:extLst>
          </p:cNvPr>
          <p:cNvSpPr/>
          <p:nvPr userDrawn="1"/>
        </p:nvSpPr>
        <p:spPr>
          <a:xfrm>
            <a:off x="0" y="0"/>
            <a:ext cx="12192000" cy="3900488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82AA0F7-C0F1-394A-B652-F0D3E2C93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4272" y="1704411"/>
            <a:ext cx="9387078" cy="715626"/>
          </a:xfrm>
        </p:spPr>
        <p:txBody>
          <a:bodyPr wrap="square" lIns="0" tIns="0" rIns="0" bIns="0" anchor="t">
            <a:noAutofit/>
          </a:bodyPr>
          <a:lstStyle>
            <a:lvl1pPr algn="ctr">
              <a:defRPr sz="5400" spc="3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90009435-2AA1-1E43-8951-931FC3F043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272" y="2547873"/>
            <a:ext cx="9387078" cy="395352"/>
          </a:xfrm>
        </p:spPr>
        <p:txBody>
          <a:bodyPr lIns="0" tIns="0" rIns="0" bIns="0">
            <a:noAutofit/>
          </a:bodyPr>
          <a:lstStyle>
            <a:lvl1pPr marL="12700" indent="-12700" algn="ctr">
              <a:buNone/>
              <a:tabLst/>
              <a:defRPr sz="1800" b="0" i="0" spc="3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25059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11262529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2173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4D9BD126-3168-C74C-8383-3023939755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2173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9B37156-341E-754B-B8E6-39C05C6CE78D}"/>
              </a:ext>
            </a:extLst>
          </p:cNvPr>
          <p:cNvCxnSpPr>
            <a:cxnSpLocks/>
          </p:cNvCxnSpPr>
          <p:nvPr userDrawn="1"/>
        </p:nvCxnSpPr>
        <p:spPr>
          <a:xfrm>
            <a:off x="472173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2EE39702-4F11-894A-93B3-D2A4F890AF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173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0844684-E2E6-B24C-A31B-CC2681B7CD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173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4" name="Text Placeholder 33">
            <a:extLst>
              <a:ext uri="{FF2B5EF4-FFF2-40B4-BE49-F238E27FC236}">
                <a16:creationId xmlns:a16="http://schemas.microsoft.com/office/drawing/2014/main" id="{DD347531-AE28-D648-AA83-E27EE4BEF6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7225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5" name="Text Placeholder 33">
            <a:extLst>
              <a:ext uri="{FF2B5EF4-FFF2-40B4-BE49-F238E27FC236}">
                <a16:creationId xmlns:a16="http://schemas.microsoft.com/office/drawing/2014/main" id="{7D504D0A-16C0-B840-9D3E-7A299012B9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7225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54DEFFE-3CA6-B541-8627-2B746AC1017B}"/>
              </a:ext>
            </a:extLst>
          </p:cNvPr>
          <p:cNvCxnSpPr>
            <a:cxnSpLocks/>
          </p:cNvCxnSpPr>
          <p:nvPr userDrawn="1"/>
        </p:nvCxnSpPr>
        <p:spPr>
          <a:xfrm>
            <a:off x="4467225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33">
            <a:extLst>
              <a:ext uri="{FF2B5EF4-FFF2-40B4-BE49-F238E27FC236}">
                <a16:creationId xmlns:a16="http://schemas.microsoft.com/office/drawing/2014/main" id="{4D416F68-37EA-D846-94D9-B419848730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67225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0E5FCD5A-3993-624F-9A21-D82CB03385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67225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54" name="Text Placeholder 33">
            <a:extLst>
              <a:ext uri="{FF2B5EF4-FFF2-40B4-BE49-F238E27FC236}">
                <a16:creationId xmlns:a16="http://schemas.microsoft.com/office/drawing/2014/main" id="{FB3FA00D-732E-F442-B9E3-A5EE129874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77273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808676DB-AD03-9E45-8A02-17D5C5D283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77273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429A2F9-DD53-8843-8719-DF8F87404556}"/>
              </a:ext>
            </a:extLst>
          </p:cNvPr>
          <p:cNvCxnSpPr>
            <a:cxnSpLocks/>
          </p:cNvCxnSpPr>
          <p:nvPr userDrawn="1"/>
        </p:nvCxnSpPr>
        <p:spPr>
          <a:xfrm>
            <a:off x="8477273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33">
            <a:extLst>
              <a:ext uri="{FF2B5EF4-FFF2-40B4-BE49-F238E27FC236}">
                <a16:creationId xmlns:a16="http://schemas.microsoft.com/office/drawing/2014/main" id="{FFF3BC3D-4119-9B48-9333-70913A63B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7273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6FFEDC73-2B4E-BE4C-919E-2541863CD0D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477273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753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11262529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2173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4D9BD126-3168-C74C-8383-3023939755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2173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9B37156-341E-754B-B8E6-39C05C6CE78D}"/>
              </a:ext>
            </a:extLst>
          </p:cNvPr>
          <p:cNvCxnSpPr>
            <a:cxnSpLocks/>
          </p:cNvCxnSpPr>
          <p:nvPr userDrawn="1"/>
        </p:nvCxnSpPr>
        <p:spPr>
          <a:xfrm>
            <a:off x="472173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33">
            <a:extLst>
              <a:ext uri="{FF2B5EF4-FFF2-40B4-BE49-F238E27FC236}">
                <a16:creationId xmlns:a16="http://schemas.microsoft.com/office/drawing/2014/main" id="{2EE39702-4F11-894A-93B3-D2A4F890AF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173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0844684-E2E6-B24C-A31B-CC2681B7CD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2173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4" name="Text Placeholder 33">
            <a:extLst>
              <a:ext uri="{FF2B5EF4-FFF2-40B4-BE49-F238E27FC236}">
                <a16:creationId xmlns:a16="http://schemas.microsoft.com/office/drawing/2014/main" id="{DD347531-AE28-D648-AA83-E27EE4BEF6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7225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5" name="Text Placeholder 33">
            <a:extLst>
              <a:ext uri="{FF2B5EF4-FFF2-40B4-BE49-F238E27FC236}">
                <a16:creationId xmlns:a16="http://schemas.microsoft.com/office/drawing/2014/main" id="{7D504D0A-16C0-B840-9D3E-7A299012B9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7225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54DEFFE-3CA6-B541-8627-2B746AC1017B}"/>
              </a:ext>
            </a:extLst>
          </p:cNvPr>
          <p:cNvCxnSpPr>
            <a:cxnSpLocks/>
          </p:cNvCxnSpPr>
          <p:nvPr userDrawn="1"/>
        </p:nvCxnSpPr>
        <p:spPr>
          <a:xfrm>
            <a:off x="4467225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33">
            <a:extLst>
              <a:ext uri="{FF2B5EF4-FFF2-40B4-BE49-F238E27FC236}">
                <a16:creationId xmlns:a16="http://schemas.microsoft.com/office/drawing/2014/main" id="{4D416F68-37EA-D846-94D9-B419848730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67225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0E5FCD5A-3993-624F-9A21-D82CB03385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67225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54" name="Text Placeholder 33">
            <a:extLst>
              <a:ext uri="{FF2B5EF4-FFF2-40B4-BE49-F238E27FC236}">
                <a16:creationId xmlns:a16="http://schemas.microsoft.com/office/drawing/2014/main" id="{FB3FA00D-732E-F442-B9E3-A5EE129874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77273" y="4216400"/>
            <a:ext cx="3276769" cy="221488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2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5" name="Text Placeholder 33">
            <a:extLst>
              <a:ext uri="{FF2B5EF4-FFF2-40B4-BE49-F238E27FC236}">
                <a16:creationId xmlns:a16="http://schemas.microsoft.com/office/drawing/2014/main" id="{808676DB-AD03-9E45-8A02-17D5C5D283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77273" y="4622800"/>
            <a:ext cx="3276769" cy="1320799"/>
          </a:xfrm>
        </p:spPr>
        <p:txBody>
          <a:bodyPr wrap="square" lIns="0" tIns="0" rIns="0" bIns="0">
            <a:noAutofit/>
          </a:bodyPr>
          <a:lstStyle>
            <a:lvl1pPr marL="12700" indent="-12700">
              <a:lnSpc>
                <a:spcPct val="150000"/>
              </a:lnSpc>
              <a:buNone/>
              <a:tabLst/>
              <a:defRPr sz="1200" b="0" i="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429A2F9-DD53-8843-8719-DF8F87404556}"/>
              </a:ext>
            </a:extLst>
          </p:cNvPr>
          <p:cNvCxnSpPr>
            <a:cxnSpLocks/>
          </p:cNvCxnSpPr>
          <p:nvPr userDrawn="1"/>
        </p:nvCxnSpPr>
        <p:spPr>
          <a:xfrm>
            <a:off x="8477273" y="4058920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33">
            <a:extLst>
              <a:ext uri="{FF2B5EF4-FFF2-40B4-BE49-F238E27FC236}">
                <a16:creationId xmlns:a16="http://schemas.microsoft.com/office/drawing/2014/main" id="{FFF3BC3D-4119-9B48-9333-70913A63B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77273" y="3590544"/>
            <a:ext cx="3264577" cy="310896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2400" b="0" i="0" spc="3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6FFEDC73-2B4E-BE4C-919E-2541863CD0D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477273" y="1621536"/>
            <a:ext cx="3278886" cy="170688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634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 descr="A picture containing indoor, table, person, sitting&#10;&#10;Description automatically generated">
            <a:extLst>
              <a:ext uri="{FF2B5EF4-FFF2-40B4-BE49-F238E27FC236}">
                <a16:creationId xmlns:a16="http://schemas.microsoft.com/office/drawing/2014/main" id="{73804D40-FDDF-A74C-96B8-D36B903389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05580FB-9A4F-7441-B0D9-E843C583BA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12FAB8-07F1-8A48-9AE8-9FC0028242E6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831460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73804D40-FDDF-A74C-96B8-D36B903389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05580FB-9A4F-7441-B0D9-E843C583BA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1420393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97949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34D100-E05D-3F4B-807C-C9A54E88570E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8708482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0B23DD-7D9E-614D-9681-A7349A3AFB5F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3535104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27CF22-E796-4F45-9411-51737734ACEA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0470945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E23D63E-E1BE-DB4B-83D0-78CB53306B7A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063EC71-A7F4-8241-88FB-66CBE1DC92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1388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D34205-8D1A-934F-B872-4AC83D5A91F6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2712928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200B38-D571-F94E-A012-719AD618A2AB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715611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291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988823-420A-9643-AEA6-E95824A05803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34258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 descr="A picture containing indoor, table, person, sitting&#10;&#10;Description automatically generated">
            <a:extLst>
              <a:ext uri="{FF2B5EF4-FFF2-40B4-BE49-F238E27FC236}">
                <a16:creationId xmlns:a16="http://schemas.microsoft.com/office/drawing/2014/main" id="{73804D40-FDDF-A74C-96B8-D36B903389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05580FB-9A4F-7441-B0D9-E843C583BA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12FAB8-07F1-8A48-9AE8-9FC0028242E6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4131761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train on the railway tracks&#10;&#10;Description automatically generated">
            <a:extLst>
              <a:ext uri="{FF2B5EF4-FFF2-40B4-BE49-F238E27FC236}">
                <a16:creationId xmlns:a16="http://schemas.microsoft.com/office/drawing/2014/main" id="{B551A611-61AB-4545-8338-3E217FB9D3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7417AD-C3C9-0348-AD5B-A47FE751E7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465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DB6D1F-C6A2-0447-8545-F4AB7B9EACBB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EC3FBCA-4FAB-9245-8649-7ED896243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F2F73B40-EFCD-DE4A-BC24-AAE3EA787C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6154495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01C5F7D-24C0-A946-915C-C8600EE85B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5A08FB-734A-144E-B6D5-3A945F8B7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8964309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26951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7B5A7D-6B35-4742-AE1A-C60E81B743DE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8927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101CBD-C910-6F44-84B7-50BE45993A69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880578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29843C-DA78-8549-922E-54C0EC77715F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8927073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94D62D9-B087-A14E-A42C-E840F1E2C02A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59F4DF3-8DDB-4B4C-9B05-D9C310F1AC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964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9CF0FA-BE89-0441-8E1B-9B887D504654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342868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3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360A1BB-AF32-354B-8388-5B59FCBFFEB3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6461308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57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B50C3B-4CD5-7D40-ABF7-53366F969875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682602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73804D40-FDDF-A74C-96B8-D36B903389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05580FB-9A4F-7441-B0D9-E843C583BA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8303203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- up of a building&#10;&#10;Description automatically generated with low confidence">
            <a:extLst>
              <a:ext uri="{FF2B5EF4-FFF2-40B4-BE49-F238E27FC236}">
                <a16:creationId xmlns:a16="http://schemas.microsoft.com/office/drawing/2014/main" id="{8A5FC307-6646-3D49-80AE-9F1F36B7F4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B25C74B-1265-AC41-9D05-610D8DE288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848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3FC62F2-D118-DF48-8D9C-55238B215983}"/>
              </a:ext>
            </a:extLst>
          </p:cNvPr>
          <p:cNvCxnSpPr>
            <a:cxnSpLocks/>
          </p:cNvCxnSpPr>
          <p:nvPr userDrawn="1"/>
        </p:nvCxnSpPr>
        <p:spPr>
          <a:xfrm>
            <a:off x="960700" y="2858563"/>
            <a:ext cx="0" cy="1140875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1CA715A0-11AB-8741-9BD3-19F545D3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3">
            <a:extLst>
              <a:ext uri="{FF2B5EF4-FFF2-40B4-BE49-F238E27FC236}">
                <a16:creationId xmlns:a16="http://schemas.microsoft.com/office/drawing/2014/main" id="{54C12249-E6FA-D240-B014-879157FE9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3626214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mpany Overview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29FD7DA-28DD-A34F-800F-C9E44F3AF6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5A08FB-734A-144E-B6D5-3A945F8B7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85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15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2F79E91C-924C-8F46-82F4-4940DF819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2875986"/>
            <a:ext cx="10338367" cy="715626"/>
          </a:xfrm>
        </p:spPr>
        <p:txBody>
          <a:bodyPr wrap="square" lIns="0" tIns="0" rIns="0" bIns="0" anchor="t">
            <a:noAutofit/>
          </a:bodyPr>
          <a:lstStyle>
            <a:lvl1pPr>
              <a:defRPr sz="5400" spc="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1F46F49C-345B-AA4D-A11C-2B46025DF7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6753" y="3719449"/>
            <a:ext cx="10338367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6001263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C3B00F3-50D6-FE4D-B6AE-D1849792D13C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16819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320AC00-78D5-4141-A831-2DB1D13D0B24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817325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50AC5A-B040-5A42-8A14-293D766ED137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624595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6 Im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9" name="Picture Placeholder 3">
            <a:extLst>
              <a:ext uri="{FF2B5EF4-FFF2-40B4-BE49-F238E27FC236}">
                <a16:creationId xmlns:a16="http://schemas.microsoft.com/office/drawing/2014/main" id="{3E9CB1F4-224A-424A-BB24-32AEC07493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77400" y="528636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6" name="Picture Placeholder 3">
            <a:extLst>
              <a:ext uri="{FF2B5EF4-FFF2-40B4-BE49-F238E27FC236}">
                <a16:creationId xmlns:a16="http://schemas.microsoft.com/office/drawing/2014/main" id="{9B6D7DBB-78EA-D640-8A2D-823166DE00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60818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7" name="Picture Placeholder 3">
            <a:extLst>
              <a:ext uri="{FF2B5EF4-FFF2-40B4-BE49-F238E27FC236}">
                <a16:creationId xmlns:a16="http://schemas.microsoft.com/office/drawing/2014/main" id="{32122988-E494-FE4D-ACE2-2F3AEF33B4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77400" y="2573885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9" name="Picture Placeholder 3">
            <a:extLst>
              <a:ext uri="{FF2B5EF4-FFF2-40B4-BE49-F238E27FC236}">
                <a16:creationId xmlns:a16="http://schemas.microsoft.com/office/drawing/2014/main" id="{FEDC777C-FF3F-4D4B-9416-6BC08C9264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60818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0" name="Picture Placeholder 3">
            <a:extLst>
              <a:ext uri="{FF2B5EF4-FFF2-40B4-BE49-F238E27FC236}">
                <a16:creationId xmlns:a16="http://schemas.microsoft.com/office/drawing/2014/main" id="{F48297DB-7052-AD40-948A-2B66FDCAA84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677400" y="4619134"/>
            <a:ext cx="2097469" cy="152640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7FE8954-3390-FA4B-B8E4-B07707AAB4D8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6335152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/Im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8AB53458-DD24-364A-B048-5B65B6978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CBA9E8F-4A0D-E145-8FDA-9A3D48BA9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7021" y="4555067"/>
            <a:ext cx="12044977" cy="1812396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8AE64F0A-39C1-BF40-92C4-29B4EA56DC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F651B918-EDBC-8C4D-8D54-EBA8310B4D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2108818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48A241-3EE3-E540-8A72-B8F6C21D88BA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1431216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599045F-CADB-854F-ABEA-79E75491CF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Text Placeholder 33">
            <a:extLst>
              <a:ext uri="{FF2B5EF4-FFF2-40B4-BE49-F238E27FC236}">
                <a16:creationId xmlns:a16="http://schemas.microsoft.com/office/drawing/2014/main" id="{8DE1F5CA-BB6A-7F4B-808F-7C11AED7E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9DD16A10-89FD-5444-B871-565AF46358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01326" y="2115941"/>
            <a:ext cx="5169398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28863AF-FBBC-EF44-B25D-99C884926079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082248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F16AE25-3BAA-2E46-BA24-B39AF890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7" y="2115941"/>
            <a:ext cx="11274362" cy="4352094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3">
            <a:extLst>
              <a:ext uri="{FF2B5EF4-FFF2-40B4-BE49-F238E27FC236}">
                <a16:creationId xmlns:a16="http://schemas.microsoft.com/office/drawing/2014/main" id="{EA7FB881-0799-0B4C-AC86-EE379162D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1482852"/>
            <a:ext cx="10805329" cy="242253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A6E04B-ECBF-3D41-A78B-0FFAEAFCDBA0}"/>
              </a:ext>
            </a:extLst>
          </p:cNvPr>
          <p:cNvCxnSpPr>
            <a:cxnSpLocks/>
          </p:cNvCxnSpPr>
          <p:nvPr userDrawn="1"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6805704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693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601846F-2BFF-AF4F-894F-A3D4974B4D0A}"/>
              </a:ext>
            </a:extLst>
          </p:cNvPr>
          <p:cNvCxnSpPr>
            <a:cxnSpLocks/>
          </p:cNvCxnSpPr>
          <p:nvPr userDrawn="1"/>
        </p:nvCxnSpPr>
        <p:spPr>
          <a:xfrm>
            <a:off x="77314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78713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5368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0515600" cy="634235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4802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Cropped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866728-9760-4447-97A1-E73DC03CF9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1"/>
            <a:ext cx="5131181" cy="521546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AA18294-1BE7-C945-A8AC-C38B03A5BA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34D100-E05D-3F4B-807C-C9A54E88570E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133532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Full Royal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5FC45-0C33-4346-834B-577431D28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450853"/>
            <a:ext cx="5622396" cy="992186"/>
          </a:xfrm>
        </p:spPr>
        <p:txBody>
          <a:bodyPr wrap="square" lIns="0" tIns="0" rIns="0" bIns="0" anchor="t">
            <a:noAutofit/>
          </a:bodyPr>
          <a:lstStyle>
            <a:lvl1pPr>
              <a:defRPr sz="3200" spc="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33">
            <a:extLst>
              <a:ext uri="{FF2B5EF4-FFF2-40B4-BE49-F238E27FC236}">
                <a16:creationId xmlns:a16="http://schemas.microsoft.com/office/drawing/2014/main" id="{E71E5762-4C8F-D043-8E2E-B3D4019871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6" y="2020180"/>
            <a:ext cx="5617633" cy="265820"/>
          </a:xfrm>
        </p:spPr>
        <p:txBody>
          <a:bodyPr lIns="0" tIns="0" rIns="0" bIns="0">
            <a:noAutofit/>
          </a:bodyPr>
          <a:lstStyle>
            <a:lvl1pPr marL="12700" indent="-12700">
              <a:buNone/>
              <a:tabLst/>
              <a:defRPr sz="1800" b="0" i="0" spc="3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A2FC40-8122-BD40-9577-690CFCE28E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6" y="2653824"/>
            <a:ext cx="5637545" cy="3813652"/>
          </a:xfrm>
        </p:spPr>
        <p:txBody>
          <a:bodyPr lIns="0" tIns="0" rIns="0" bIns="0">
            <a:noAutofit/>
          </a:bodyPr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Picture Placeholder 3">
            <a:extLst>
              <a:ext uri="{FF2B5EF4-FFF2-40B4-BE49-F238E27FC236}">
                <a16:creationId xmlns:a16="http://schemas.microsoft.com/office/drawing/2014/main" id="{A7F6A227-D8B9-674A-8511-0F0613449D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60818" y="-2"/>
            <a:ext cx="5131181" cy="68580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0B23DD-7D9E-614D-9681-A7349A3AFB5F}"/>
              </a:ext>
            </a:extLst>
          </p:cNvPr>
          <p:cNvCxnSpPr>
            <a:cxnSpLocks/>
          </p:cNvCxnSpPr>
          <p:nvPr userDrawn="1"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7990766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oleObject" Target="../embeddings/oleObject5.bin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ags" Target="../tags/tag15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74BD97-D79B-6543-A064-F3BD6D58C17F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413" y="6418320"/>
            <a:ext cx="477296" cy="38608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358224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84" imgH="384" progId="TCLayout.ActiveDocument.1">
                  <p:embed/>
                </p:oleObj>
              </mc:Choice>
              <mc:Fallback>
                <p:oleObj name="think-cell Slide" r:id="rId39" imgW="384" imgH="38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BEC6AD8-5BF9-8D4F-8AA0-7F38702CBFE2}"/>
              </a:ext>
            </a:extLst>
          </p:cNvPr>
          <p:cNvSpPr txBox="1">
            <a:spLocks/>
          </p:cNvSpPr>
          <p:nvPr userDrawn="1"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solidFill>
                  <a:schemeClr val="tx1"/>
                </a:solidFill>
                <a:latin typeface="Arial" panose="020B0604020202020204" pitchFamily="34" charset="0"/>
              </a:rPr>
              <a:pPr algn="l"/>
              <a:t>‹#›</a:t>
            </a:fld>
            <a:endParaRPr lang="en-US" sz="900" b="0" i="0" baseline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75F056-A8FB-6A4E-B683-50563D42319A}"/>
              </a:ext>
            </a:extLst>
          </p:cNvPr>
          <p:cNvSpPr txBox="1"/>
          <p:nvPr userDrawn="1"/>
        </p:nvSpPr>
        <p:spPr>
          <a:xfrm>
            <a:off x="293588" y="6541163"/>
            <a:ext cx="187452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50" b="0" i="0" spc="100" baseline="0">
                <a:solidFill>
                  <a:schemeClr val="tx1"/>
                </a:solidFill>
                <a:latin typeface="Arial" panose="020B0604020202020204" pitchFamily="34" charset="0"/>
                <a:ea typeface="Neo Sans Pro" charset="0"/>
                <a:cs typeface="Arial" panose="020B0604020202020204" pitchFamily="34" charset="0"/>
              </a:rPr>
              <a:t>PROPRIETARY</a:t>
            </a:r>
          </a:p>
        </p:txBody>
      </p:sp>
      <p:sp>
        <p:nvSpPr>
          <p:cNvPr id="4" name="MSIPCMContentMarking" descr="{&quot;HashCode&quot;:1397893761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7E34D14C-5B5F-490F-A298-AB9D25F14FB2}"/>
              </a:ext>
            </a:extLst>
          </p:cNvPr>
          <p:cNvSpPr txBox="1"/>
          <p:nvPr userDrawn="1"/>
        </p:nvSpPr>
        <p:spPr>
          <a:xfrm>
            <a:off x="0" y="6629836"/>
            <a:ext cx="1434845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Sensitivity: Business Internal</a:t>
            </a:r>
          </a:p>
        </p:txBody>
      </p:sp>
    </p:spTree>
    <p:extLst>
      <p:ext uri="{BB962C8B-B14F-4D97-AF65-F5344CB8AC3E}">
        <p14:creationId xmlns:p14="http://schemas.microsoft.com/office/powerpoint/2010/main" val="4112832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2" r:id="rId2"/>
    <p:sldLayoutId id="2147483703" r:id="rId3"/>
    <p:sldLayoutId id="2147483700" r:id="rId4"/>
    <p:sldLayoutId id="2147483734" r:id="rId5"/>
    <p:sldLayoutId id="2147483701" r:id="rId6"/>
    <p:sldLayoutId id="2147483735" r:id="rId7"/>
    <p:sldLayoutId id="2147483691" r:id="rId8"/>
    <p:sldLayoutId id="2147483697" r:id="rId9"/>
    <p:sldLayoutId id="2147483731" r:id="rId10"/>
    <p:sldLayoutId id="2147483698" r:id="rId11"/>
    <p:sldLayoutId id="2147483690" r:id="rId12"/>
    <p:sldLayoutId id="2147483699" r:id="rId13"/>
    <p:sldLayoutId id="2147483693" r:id="rId14"/>
    <p:sldLayoutId id="2147483724" r:id="rId15"/>
    <p:sldLayoutId id="2147483736" r:id="rId16"/>
    <p:sldLayoutId id="2147483737" r:id="rId17"/>
    <p:sldLayoutId id="2147483725" r:id="rId18"/>
    <p:sldLayoutId id="2147483726" r:id="rId19"/>
    <p:sldLayoutId id="2147483732" r:id="rId20"/>
    <p:sldLayoutId id="2147483727" r:id="rId21"/>
    <p:sldLayoutId id="2147483728" r:id="rId22"/>
    <p:sldLayoutId id="2147483729" r:id="rId23"/>
    <p:sldLayoutId id="2147483730" r:id="rId24"/>
    <p:sldLayoutId id="2147483709" r:id="rId25"/>
    <p:sldLayoutId id="2147483738" r:id="rId26"/>
    <p:sldLayoutId id="2147483739" r:id="rId27"/>
    <p:sldLayoutId id="2147483714" r:id="rId28"/>
    <p:sldLayoutId id="2147483715" r:id="rId29"/>
    <p:sldLayoutId id="2147483733" r:id="rId30"/>
    <p:sldLayoutId id="2147483716" r:id="rId31"/>
    <p:sldLayoutId id="2147483717" r:id="rId32"/>
    <p:sldLayoutId id="2147483718" r:id="rId33"/>
    <p:sldLayoutId id="2147483696" r:id="rId34"/>
    <p:sldLayoutId id="2147483702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074BD97-D79B-6543-A064-F3BD6D58C17F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413" y="6418320"/>
            <a:ext cx="477296" cy="38608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358224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84" imgH="384" progId="TCLayout.ActiveDocument.1">
                  <p:embed/>
                </p:oleObj>
              </mc:Choice>
              <mc:Fallback>
                <p:oleObj name="think-cell Slide" r:id="rId39" imgW="384" imgH="38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BEC6AD8-5BF9-8D4F-8AA0-7F38702CBFE2}"/>
              </a:ext>
            </a:extLst>
          </p:cNvPr>
          <p:cNvSpPr txBox="1">
            <a:spLocks/>
          </p:cNvSpPr>
          <p:nvPr userDrawn="1"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solidFill>
                  <a:schemeClr val="tx1"/>
                </a:solidFill>
                <a:latin typeface="Arial" panose="020B0604020202020204" pitchFamily="34" charset="0"/>
              </a:rPr>
              <a:pPr algn="l"/>
              <a:t>‹#›</a:t>
            </a:fld>
            <a:endParaRPr lang="en-US" sz="900" b="0" i="0" baseline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75F056-A8FB-6A4E-B683-50563D42319A}"/>
              </a:ext>
            </a:extLst>
          </p:cNvPr>
          <p:cNvSpPr txBox="1"/>
          <p:nvPr userDrawn="1"/>
        </p:nvSpPr>
        <p:spPr>
          <a:xfrm>
            <a:off x="293588" y="6541163"/>
            <a:ext cx="187452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50" b="0" i="0" spc="100" baseline="0">
                <a:solidFill>
                  <a:schemeClr val="tx1"/>
                </a:solidFill>
                <a:latin typeface="Arial" panose="020B0604020202020204" pitchFamily="34" charset="0"/>
                <a:ea typeface="Neo Sans Pro" charset="0"/>
                <a:cs typeface="Arial" panose="020B0604020202020204" pitchFamily="34" charset="0"/>
              </a:rPr>
              <a:t>PROPRIETARY</a:t>
            </a:r>
          </a:p>
        </p:txBody>
      </p:sp>
      <p:sp>
        <p:nvSpPr>
          <p:cNvPr id="4" name="MSIPCMContentMarking" descr="{&quot;HashCode&quot;:1397893761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69983047-4298-4C64-A9A0-8BA90C1FBB33}"/>
              </a:ext>
            </a:extLst>
          </p:cNvPr>
          <p:cNvSpPr txBox="1"/>
          <p:nvPr userDrawn="1"/>
        </p:nvSpPr>
        <p:spPr>
          <a:xfrm>
            <a:off x="0" y="6629836"/>
            <a:ext cx="1434845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Sensitivity: Business Internal</a:t>
            </a:r>
          </a:p>
        </p:txBody>
      </p:sp>
    </p:spTree>
    <p:extLst>
      <p:ext uri="{BB962C8B-B14F-4D97-AF65-F5344CB8AC3E}">
        <p14:creationId xmlns:p14="http://schemas.microsoft.com/office/powerpoint/2010/main" val="1184459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4.emf"/><Relationship Id="rId4" Type="http://schemas.openxmlformats.org/officeDocument/2006/relationships/image" Target="../media/image37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image" Target="../media/image50.emf"/><Relationship Id="rId7" Type="http://schemas.openxmlformats.org/officeDocument/2006/relationships/image" Target="../media/image54.jpeg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emf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18" Type="http://schemas.openxmlformats.org/officeDocument/2006/relationships/image" Target="../media/image72.png"/><Relationship Id="rId3" Type="http://schemas.openxmlformats.org/officeDocument/2006/relationships/image" Target="../media/image57.png"/><Relationship Id="rId21" Type="http://schemas.openxmlformats.org/officeDocument/2006/relationships/image" Target="../media/image75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17" Type="http://schemas.openxmlformats.org/officeDocument/2006/relationships/image" Target="../media/image71.png"/><Relationship Id="rId2" Type="http://schemas.openxmlformats.org/officeDocument/2006/relationships/image" Target="../media/image56.png"/><Relationship Id="rId16" Type="http://schemas.openxmlformats.org/officeDocument/2006/relationships/image" Target="../media/image70.png"/><Relationship Id="rId20" Type="http://schemas.openxmlformats.org/officeDocument/2006/relationships/image" Target="../media/image74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24" Type="http://schemas.openxmlformats.org/officeDocument/2006/relationships/image" Target="../media/image78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10" Type="http://schemas.openxmlformats.org/officeDocument/2006/relationships/image" Target="../media/image64.png"/><Relationship Id="rId19" Type="http://schemas.openxmlformats.org/officeDocument/2006/relationships/image" Target="../media/image73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Relationship Id="rId22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6F2CD-752F-6444-BFE2-40279ED89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/>
              <a:t>Company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37159C-2E57-9B4C-AE27-169BC4B1A8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XALTA 2022</a:t>
            </a:r>
          </a:p>
        </p:txBody>
      </p:sp>
      <p:pic>
        <p:nvPicPr>
          <p:cNvPr id="7" name="Picture Placeholder 6" descr="A picture containing tree, outdoor, plant&#10;&#10;Description automatically generated">
            <a:extLst>
              <a:ext uri="{FF2B5EF4-FFF2-40B4-BE49-F238E27FC236}">
                <a16:creationId xmlns:a16="http://schemas.microsoft.com/office/drawing/2014/main" id="{02528474-12BE-A341-AAC4-4AD7ABD399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8" name="Picture Placeholder 7" descr="A picture containing car, outdoor&#10;&#10;Description automatically generated">
            <a:extLst>
              <a:ext uri="{FF2B5EF4-FFF2-40B4-BE49-F238E27FC236}">
                <a16:creationId xmlns:a16="http://schemas.microsoft.com/office/drawing/2014/main" id="{4F357F31-DE1A-144E-8E22-4B3CBD65A6C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Picture Placeholder 17" descr="A train on the railway tracks&#10;&#10;Description automatically generated with medium confidence">
            <a:extLst>
              <a:ext uri="{FF2B5EF4-FFF2-40B4-BE49-F238E27FC236}">
                <a16:creationId xmlns:a16="http://schemas.microsoft.com/office/drawing/2014/main" id="{E05D5610-B0D5-F948-AC5A-347C2B04E69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4934" y="3059574"/>
            <a:ext cx="2607067" cy="3798426"/>
          </a:xfrm>
        </p:spPr>
      </p:pic>
      <p:pic>
        <p:nvPicPr>
          <p:cNvPr id="9" name="Picture Placeholder 8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306F466E-E732-1B49-A0F9-88AB5E96673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9552" y="3811929"/>
            <a:ext cx="3463876" cy="3046071"/>
          </a:xfrm>
        </p:spPr>
      </p:pic>
    </p:spTree>
    <p:extLst>
      <p:ext uri="{BB962C8B-B14F-4D97-AF65-F5344CB8AC3E}">
        <p14:creationId xmlns:p14="http://schemas.microsoft.com/office/powerpoint/2010/main" val="154557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997A739-01BC-1846-9A70-AACEABA3D669}"/>
              </a:ext>
            </a:extLst>
          </p:cNvPr>
          <p:cNvSpPr/>
          <p:nvPr/>
        </p:nvSpPr>
        <p:spPr>
          <a:xfrm>
            <a:off x="1" y="4537023"/>
            <a:ext cx="12192000" cy="23209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4" name="Picture Placeholder 6">
            <a:extLst>
              <a:ext uri="{FF2B5EF4-FFF2-40B4-BE49-F238E27FC236}">
                <a16:creationId xmlns:a16="http://schemas.microsoft.com/office/drawing/2014/main" id="{4734034F-EF56-F04D-B700-8B69A9B36F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23850" y="-2"/>
            <a:ext cx="3268150" cy="6858001"/>
          </a:xfrm>
          <a:prstGeom prst="rect">
            <a:avLst/>
          </a:prstGeom>
        </p:spPr>
      </p:pic>
      <p:sp>
        <p:nvSpPr>
          <p:cNvPr id="85" name="Subtitle 2">
            <a:extLst>
              <a:ext uri="{FF2B5EF4-FFF2-40B4-BE49-F238E27FC236}">
                <a16:creationId xmlns:a16="http://schemas.microsoft.com/office/drawing/2014/main" id="{B339150D-440C-E347-A007-0826D8EB6D1C}"/>
              </a:ext>
            </a:extLst>
          </p:cNvPr>
          <p:cNvSpPr txBox="1">
            <a:spLocks/>
          </p:cNvSpPr>
          <p:nvPr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latin typeface="Arial" panose="020B0604020202020204" pitchFamily="34" charset="0"/>
              </a:rPr>
              <a:pPr algn="l"/>
              <a:t>10</a:t>
            </a:fld>
            <a:endParaRPr lang="en-US" sz="900" b="0" i="0" baseline="0">
              <a:latin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79D9E3BE-E17B-7C43-B456-651F26734D3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278" y="6421120"/>
            <a:ext cx="477297" cy="3860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939880-52DC-4345-93F8-35D3FB464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dustr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8421D9-2778-9447-BCB4-0D842552E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367" y="1400239"/>
            <a:ext cx="2808286" cy="247447"/>
          </a:xfrm>
        </p:spPr>
        <p:txBody>
          <a:bodyPr/>
          <a:lstStyle/>
          <a:p>
            <a:r>
              <a:rPr lang="en-US" sz="1400"/>
              <a:t>BUSINESS AR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3D700A-A2EB-B445-9B31-F9514DA0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6" y="1833130"/>
            <a:ext cx="2811732" cy="2108818"/>
          </a:xfrm>
        </p:spPr>
        <p:txBody>
          <a:bodyPr/>
          <a:lstStyle/>
          <a:p>
            <a:pPr marL="0" indent="0">
              <a:buNone/>
            </a:pPr>
            <a:r>
              <a:rPr lang="en-US" sz="1400" b="1"/>
              <a:t>General Industrial</a:t>
            </a:r>
          </a:p>
          <a:p>
            <a:r>
              <a:rPr lang="en-US" sz="1400"/>
              <a:t>Appliances</a:t>
            </a:r>
          </a:p>
          <a:p>
            <a:r>
              <a:rPr lang="en-US" sz="1400"/>
              <a:t>Architectural Extrusions</a:t>
            </a:r>
          </a:p>
          <a:p>
            <a:r>
              <a:rPr lang="en-US" sz="1400"/>
              <a:t>Coil Coatings</a:t>
            </a:r>
          </a:p>
          <a:p>
            <a:r>
              <a:rPr lang="en-US" sz="1400"/>
              <a:t>Heavy Machinery</a:t>
            </a:r>
          </a:p>
          <a:p>
            <a:r>
              <a:rPr lang="en-US" sz="1400"/>
              <a:t>Oil &amp; Gas</a:t>
            </a:r>
          </a:p>
          <a:p>
            <a:r>
              <a:rPr lang="en-US" sz="1400"/>
              <a:t>Storage and Fencing</a:t>
            </a:r>
          </a:p>
          <a:p>
            <a:r>
              <a:rPr lang="en-US" sz="1400"/>
              <a:t>Structural Steel</a:t>
            </a:r>
          </a:p>
          <a:p>
            <a:endParaRPr lang="en-US" sz="140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CDB28E1-C690-E542-8110-844776BE85E9}"/>
              </a:ext>
            </a:extLst>
          </p:cNvPr>
          <p:cNvSpPr txBox="1">
            <a:spLocks/>
          </p:cNvSpPr>
          <p:nvPr/>
        </p:nvSpPr>
        <p:spPr>
          <a:xfrm>
            <a:off x="478367" y="4915538"/>
            <a:ext cx="2808286" cy="2474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HIGHLIGHTS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5826ECE1-155B-4541-934A-8FA310C33909}"/>
              </a:ext>
            </a:extLst>
          </p:cNvPr>
          <p:cNvSpPr txBox="1">
            <a:spLocks/>
          </p:cNvSpPr>
          <p:nvPr/>
        </p:nvSpPr>
        <p:spPr>
          <a:xfrm>
            <a:off x="478366" y="5240853"/>
            <a:ext cx="6863728" cy="1166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ow emission electrical insulation materials for energy and e-mobility markets</a:t>
            </a:r>
          </a:p>
          <a:p>
            <a:r>
              <a:rPr lang="en-US" sz="1400"/>
              <a:t>Award winning primer and enamel coatings for cabinetry </a:t>
            </a:r>
          </a:p>
          <a:p>
            <a:r>
              <a:rPr lang="en-US" sz="1400"/>
              <a:t>Super durable extrusion products with best-in-class quality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A398007-DA4C-1049-B030-F71B69004CF2}"/>
              </a:ext>
            </a:extLst>
          </p:cNvPr>
          <p:cNvSpPr txBox="1">
            <a:spLocks/>
          </p:cNvSpPr>
          <p:nvPr/>
        </p:nvSpPr>
        <p:spPr>
          <a:xfrm>
            <a:off x="2944630" y="1833130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Building Products</a:t>
            </a:r>
          </a:p>
          <a:p>
            <a:r>
              <a:rPr lang="en-US" sz="1400"/>
              <a:t>Building Materials</a:t>
            </a:r>
          </a:p>
          <a:p>
            <a:r>
              <a:rPr lang="en-US" sz="1400"/>
              <a:t>Cabinets</a:t>
            </a:r>
          </a:p>
          <a:p>
            <a:r>
              <a:rPr lang="en-US" sz="1400"/>
              <a:t>Wood and Luxury </a:t>
            </a:r>
            <a:br>
              <a:rPr lang="en-US" sz="1400"/>
            </a:br>
            <a:r>
              <a:rPr lang="en-US" sz="1400"/>
              <a:t>Vinyl Flooring</a:t>
            </a:r>
          </a:p>
          <a:p>
            <a:r>
              <a:rPr lang="en-US" sz="1400"/>
              <a:t>Furniture Materials</a:t>
            </a:r>
          </a:p>
          <a:p>
            <a:endParaRPr lang="en-US" sz="140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E3421273-DB08-5E45-B2A6-6D2400B0731F}"/>
              </a:ext>
            </a:extLst>
          </p:cNvPr>
          <p:cNvSpPr txBox="1">
            <a:spLocks/>
          </p:cNvSpPr>
          <p:nvPr/>
        </p:nvSpPr>
        <p:spPr>
          <a:xfrm>
            <a:off x="5410334" y="1833130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Energy Solutions</a:t>
            </a:r>
          </a:p>
          <a:p>
            <a:r>
              <a:rPr lang="en-US" sz="1400"/>
              <a:t>Distribution Transformers</a:t>
            </a:r>
          </a:p>
          <a:p>
            <a:r>
              <a:rPr lang="en-US" sz="1400"/>
              <a:t>Electric Vehicles</a:t>
            </a:r>
          </a:p>
          <a:p>
            <a:r>
              <a:rPr lang="en-US" sz="1400"/>
              <a:t>Energy Storage</a:t>
            </a:r>
          </a:p>
          <a:p>
            <a:r>
              <a:rPr lang="en-US" sz="1400"/>
              <a:t>Power Generation</a:t>
            </a:r>
          </a:p>
          <a:p>
            <a:r>
              <a:rPr lang="en-US" sz="1400"/>
              <a:t>Power Tools</a:t>
            </a:r>
          </a:p>
          <a:p>
            <a:r>
              <a:rPr lang="en-US" sz="1400"/>
              <a:t>Wind Turbines</a:t>
            </a:r>
          </a:p>
          <a:p>
            <a:r>
              <a:rPr lang="en-US" sz="1400"/>
              <a:t>Motor and Battery Protec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466A2ED-1474-7140-B6D8-16FE146788A5}"/>
              </a:ext>
            </a:extLst>
          </p:cNvPr>
          <p:cNvGrpSpPr/>
          <p:nvPr/>
        </p:nvGrpSpPr>
        <p:grpSpPr>
          <a:xfrm>
            <a:off x="7852637" y="4364670"/>
            <a:ext cx="2811732" cy="2108819"/>
            <a:chOff x="7852637" y="4364670"/>
            <a:chExt cx="2811732" cy="2108819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C7E755F1-0928-0B49-B0C5-C78A94C0E271}"/>
                </a:ext>
              </a:extLst>
            </p:cNvPr>
            <p:cNvSpPr/>
            <p:nvPr/>
          </p:nvSpPr>
          <p:spPr>
            <a:xfrm>
              <a:off x="8204094" y="4364670"/>
              <a:ext cx="2108819" cy="2108819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6333298-82A3-BE41-81CC-810D96F6A100}"/>
                </a:ext>
              </a:extLst>
            </p:cNvPr>
            <p:cNvGrpSpPr/>
            <p:nvPr/>
          </p:nvGrpSpPr>
          <p:grpSpPr>
            <a:xfrm>
              <a:off x="7852637" y="4994015"/>
              <a:ext cx="2811732" cy="856420"/>
              <a:chOff x="7481333" y="902202"/>
              <a:chExt cx="2811732" cy="856420"/>
            </a:xfrm>
          </p:grpSpPr>
          <p:sp>
            <p:nvSpPr>
              <p:cNvPr id="74" name="Text Placeholder 2">
                <a:extLst>
                  <a:ext uri="{FF2B5EF4-FFF2-40B4-BE49-F238E27FC236}">
                    <a16:creationId xmlns:a16="http://schemas.microsoft.com/office/drawing/2014/main" id="{13EAFA7C-7F3E-9345-86AA-7E81EA4C24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2</a:t>
                </a:r>
              </a:p>
            </p:txBody>
          </p:sp>
          <p:sp>
            <p:nvSpPr>
              <p:cNvPr id="75" name="Text Placeholder 3">
                <a:extLst>
                  <a:ext uri="{FF2B5EF4-FFF2-40B4-BE49-F238E27FC236}">
                    <a16:creationId xmlns:a16="http://schemas.microsoft.com/office/drawing/2014/main" id="{88740D2F-4BF8-084B-99E0-1389E8D0DC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600"/>
                  <a:t>Global Electrical </a:t>
                </a:r>
                <a:br>
                  <a:rPr lang="en-US" sz="1600"/>
                </a:br>
                <a:r>
                  <a:rPr lang="en-US" sz="1600"/>
                  <a:t>Insulation Supplier</a:t>
                </a: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0C5469F-3578-A14D-AD64-FA62C25F413A}"/>
              </a:ext>
            </a:extLst>
          </p:cNvPr>
          <p:cNvGrpSpPr/>
          <p:nvPr/>
        </p:nvGrpSpPr>
        <p:grpSpPr>
          <a:xfrm>
            <a:off x="9295705" y="2456183"/>
            <a:ext cx="2811732" cy="2108819"/>
            <a:chOff x="9295705" y="2456183"/>
            <a:chExt cx="2811732" cy="2108819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C49E3D3-6657-5447-93C8-49F84BE25EC5}"/>
                </a:ext>
              </a:extLst>
            </p:cNvPr>
            <p:cNvSpPr/>
            <p:nvPr/>
          </p:nvSpPr>
          <p:spPr>
            <a:xfrm>
              <a:off x="9647162" y="2456183"/>
              <a:ext cx="2108819" cy="2108819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72AC083F-979B-E547-88C4-F38816E216B9}"/>
                </a:ext>
              </a:extLst>
            </p:cNvPr>
            <p:cNvGrpSpPr/>
            <p:nvPr/>
          </p:nvGrpSpPr>
          <p:grpSpPr>
            <a:xfrm>
              <a:off x="9295705" y="3085528"/>
              <a:ext cx="2811732" cy="856420"/>
              <a:chOff x="7481333" y="902202"/>
              <a:chExt cx="2811732" cy="856420"/>
            </a:xfrm>
          </p:grpSpPr>
          <p:sp>
            <p:nvSpPr>
              <p:cNvPr id="78" name="Text Placeholder 2">
                <a:extLst>
                  <a:ext uri="{FF2B5EF4-FFF2-40B4-BE49-F238E27FC236}">
                    <a16:creationId xmlns:a16="http://schemas.microsoft.com/office/drawing/2014/main" id="{F0B38B2B-BF43-D749-9936-B491A283EB1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2</a:t>
                </a:r>
              </a:p>
            </p:txBody>
          </p:sp>
          <p:sp>
            <p:nvSpPr>
              <p:cNvPr id="79" name="Text Placeholder 3">
                <a:extLst>
                  <a:ext uri="{FF2B5EF4-FFF2-40B4-BE49-F238E27FC236}">
                    <a16:creationId xmlns:a16="http://schemas.microsoft.com/office/drawing/2014/main" id="{BA49C9A5-BF37-F04E-ACF2-4CB7095CD8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600"/>
                  <a:t>North American </a:t>
                </a:r>
                <a:br>
                  <a:rPr lang="en-US" sz="1600"/>
                </a:br>
                <a:r>
                  <a:rPr lang="en-US" sz="1600"/>
                  <a:t>Wood Coatings </a:t>
                </a:r>
                <a:br>
                  <a:rPr lang="en-US" sz="1600"/>
                </a:br>
                <a:r>
                  <a:rPr lang="en-US" sz="1600"/>
                  <a:t>Supplier</a:t>
                </a: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49E3532-CF43-FF4F-805B-C123AE76B472}"/>
              </a:ext>
            </a:extLst>
          </p:cNvPr>
          <p:cNvGrpSpPr/>
          <p:nvPr/>
        </p:nvGrpSpPr>
        <p:grpSpPr>
          <a:xfrm>
            <a:off x="7852637" y="519412"/>
            <a:ext cx="2811732" cy="2108819"/>
            <a:chOff x="7852637" y="519412"/>
            <a:chExt cx="2811732" cy="2108819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2430DE6-2214-1741-9DCC-5EA525C423D0}"/>
                </a:ext>
              </a:extLst>
            </p:cNvPr>
            <p:cNvSpPr/>
            <p:nvPr/>
          </p:nvSpPr>
          <p:spPr>
            <a:xfrm>
              <a:off x="8204094" y="519412"/>
              <a:ext cx="2108819" cy="2108819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8896C98-B9FB-9D43-BE04-636B8CCC9956}"/>
                </a:ext>
              </a:extLst>
            </p:cNvPr>
            <p:cNvGrpSpPr/>
            <p:nvPr/>
          </p:nvGrpSpPr>
          <p:grpSpPr>
            <a:xfrm>
              <a:off x="7852637" y="1148757"/>
              <a:ext cx="2811732" cy="856420"/>
              <a:chOff x="7481333" y="902202"/>
              <a:chExt cx="2811732" cy="856420"/>
            </a:xfrm>
          </p:grpSpPr>
          <p:sp>
            <p:nvSpPr>
              <p:cNvPr id="82" name="Text Placeholder 2">
                <a:extLst>
                  <a:ext uri="{FF2B5EF4-FFF2-40B4-BE49-F238E27FC236}">
                    <a16:creationId xmlns:a16="http://schemas.microsoft.com/office/drawing/2014/main" id="{EEEB7C25-A0DC-3147-A8D8-4FB23FFA00A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2</a:t>
                </a:r>
              </a:p>
            </p:txBody>
          </p:sp>
          <p:sp>
            <p:nvSpPr>
              <p:cNvPr id="83" name="Text Placeholder 3">
                <a:extLst>
                  <a:ext uri="{FF2B5EF4-FFF2-40B4-BE49-F238E27FC236}">
                    <a16:creationId xmlns:a16="http://schemas.microsoft.com/office/drawing/2014/main" id="{62880A08-A501-B94D-A708-3511917513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600"/>
                  <a:t>Global Industrial </a:t>
                </a:r>
                <a:br>
                  <a:rPr lang="en-US" sz="1600"/>
                </a:br>
                <a:r>
                  <a:rPr lang="en-US" sz="1600"/>
                  <a:t>E-Coat Supplier</a:t>
                </a:r>
              </a:p>
            </p:txBody>
          </p: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730C4569-FA74-9C46-83BC-3EA76E9D8E9D}"/>
              </a:ext>
            </a:extLst>
          </p:cNvPr>
          <p:cNvSpPr txBox="1"/>
          <p:nvPr/>
        </p:nvSpPr>
        <p:spPr>
          <a:xfrm>
            <a:off x="293588" y="6541163"/>
            <a:ext cx="187452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50" b="0" i="0" spc="100" baseline="0">
                <a:solidFill>
                  <a:schemeClr val="tx1"/>
                </a:solidFill>
                <a:latin typeface="Arial" panose="020B0604020202020204" pitchFamily="34" charset="0"/>
                <a:ea typeface="Neo Sans Pro" charset="0"/>
                <a:cs typeface="Arial" panose="020B0604020202020204" pitchFamily="34" charset="0"/>
              </a:rPr>
              <a:t>PROPRIETARY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9C0922A1-D23F-3E40-8649-828488149333}"/>
              </a:ext>
            </a:extLst>
          </p:cNvPr>
          <p:cNvCxnSpPr>
            <a:cxnSpLocks/>
          </p:cNvCxnSpPr>
          <p:nvPr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0775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5F99D-FA03-D34B-AA1B-CA905E5CC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inish</a:t>
            </a:r>
          </a:p>
        </p:txBody>
      </p:sp>
      <p:pic>
        <p:nvPicPr>
          <p:cNvPr id="22" name="Picture Placeholder 21" descr="A picture containing wall, indoor, mosquito net, blue&#10;&#10;Description automatically generated">
            <a:extLst>
              <a:ext uri="{FF2B5EF4-FFF2-40B4-BE49-F238E27FC236}">
                <a16:creationId xmlns:a16="http://schemas.microsoft.com/office/drawing/2014/main" id="{9CB4040D-6BF5-3A40-A13E-CB1A7A098B5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7638" y="3854450"/>
            <a:ext cx="12044362" cy="2324779"/>
          </a:xfr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048707E-0A62-E34C-881F-28E145B297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367" y="1400239"/>
            <a:ext cx="2808286" cy="247447"/>
          </a:xfrm>
        </p:spPr>
        <p:txBody>
          <a:bodyPr/>
          <a:lstStyle/>
          <a:p>
            <a:r>
              <a:rPr lang="en-US" sz="1400"/>
              <a:t>BUSINESS AREA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36CD690-9D7D-A040-96A3-1110927E26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6" y="1725554"/>
            <a:ext cx="2811732" cy="2108818"/>
          </a:xfrm>
        </p:spPr>
        <p:txBody>
          <a:bodyPr/>
          <a:lstStyle/>
          <a:p>
            <a:r>
              <a:rPr lang="en-US" sz="1400"/>
              <a:t>Independent body shops</a:t>
            </a:r>
          </a:p>
          <a:p>
            <a:r>
              <a:rPr lang="en-US" sz="1400"/>
              <a:t>Multi-shop operators (MSOs)</a:t>
            </a:r>
          </a:p>
          <a:p>
            <a:r>
              <a:rPr lang="en-US" sz="1400"/>
              <a:t>Auto dealership group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AFEC3C5-0323-184D-A7D0-EDACA6C02ED5}"/>
              </a:ext>
            </a:extLst>
          </p:cNvPr>
          <p:cNvSpPr txBox="1">
            <a:spLocks/>
          </p:cNvSpPr>
          <p:nvPr/>
        </p:nvSpPr>
        <p:spPr>
          <a:xfrm>
            <a:off x="3788726" y="1400239"/>
            <a:ext cx="2808286" cy="2474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HIGHLIGHT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AD8ED3D-DB2E-2245-9DA1-A386E383604D}"/>
              </a:ext>
            </a:extLst>
          </p:cNvPr>
          <p:cNvSpPr txBox="1">
            <a:spLocks/>
          </p:cNvSpPr>
          <p:nvPr/>
        </p:nvSpPr>
        <p:spPr>
          <a:xfrm>
            <a:off x="3788724" y="1725554"/>
            <a:ext cx="2907909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Industry leading color capability</a:t>
            </a:r>
          </a:p>
          <a:p>
            <a:r>
              <a:rPr lang="en-US" sz="1400"/>
              <a:t>Most productive waterborne basecoat technology</a:t>
            </a:r>
          </a:p>
          <a:p>
            <a:r>
              <a:rPr lang="en-US" sz="1400"/>
              <a:t>Develop tailored technology for Premium, Mainstream and Economy segmen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64CB9A-9ABB-3A49-950F-42B2A409E850}"/>
              </a:ext>
            </a:extLst>
          </p:cNvPr>
          <p:cNvCxnSpPr>
            <a:cxnSpLocks/>
          </p:cNvCxnSpPr>
          <p:nvPr/>
        </p:nvCxnSpPr>
        <p:spPr>
          <a:xfrm>
            <a:off x="3426349" y="1400239"/>
            <a:ext cx="0" cy="181360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5C3DD1D-52CE-874C-831B-320C2256242A}"/>
              </a:ext>
            </a:extLst>
          </p:cNvPr>
          <p:cNvGrpSpPr/>
          <p:nvPr/>
        </p:nvGrpSpPr>
        <p:grpSpPr>
          <a:xfrm>
            <a:off x="7879306" y="678771"/>
            <a:ext cx="4322348" cy="2612945"/>
            <a:chOff x="7879306" y="678771"/>
            <a:chExt cx="4322348" cy="2612945"/>
          </a:xfrm>
        </p:grpSpPr>
        <p:pic>
          <p:nvPicPr>
            <p:cNvPr id="57" name="Picture 56" descr="Background pattern&#10;&#10;Description automatically generated with medium confidence">
              <a:extLst>
                <a:ext uri="{FF2B5EF4-FFF2-40B4-BE49-F238E27FC236}">
                  <a16:creationId xmlns:a16="http://schemas.microsoft.com/office/drawing/2014/main" id="{F4294949-F629-8B4B-B42E-7002464CFC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43039" y="678771"/>
              <a:ext cx="3158615" cy="2612944"/>
            </a:xfrm>
            <a:prstGeom prst="rect">
              <a:avLst/>
            </a:prstGeom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159DDA2-3DF0-3648-BFA7-19A5604AD939}"/>
                </a:ext>
              </a:extLst>
            </p:cNvPr>
            <p:cNvSpPr/>
            <p:nvPr/>
          </p:nvSpPr>
          <p:spPr>
            <a:xfrm>
              <a:off x="7978700" y="678771"/>
              <a:ext cx="2612944" cy="261294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022FE5D-C5D3-4441-8E90-1889DDEBF155}"/>
                </a:ext>
              </a:extLst>
            </p:cNvPr>
            <p:cNvGrpSpPr/>
            <p:nvPr/>
          </p:nvGrpSpPr>
          <p:grpSpPr>
            <a:xfrm>
              <a:off x="7879306" y="1447301"/>
              <a:ext cx="2811732" cy="856420"/>
              <a:chOff x="7481333" y="902202"/>
              <a:chExt cx="2811732" cy="856420"/>
            </a:xfrm>
          </p:grpSpPr>
          <p:sp>
            <p:nvSpPr>
              <p:cNvPr id="16" name="Text Placeholder 2">
                <a:extLst>
                  <a:ext uri="{FF2B5EF4-FFF2-40B4-BE49-F238E27FC236}">
                    <a16:creationId xmlns:a16="http://schemas.microsoft.com/office/drawing/2014/main" id="{BB464EEA-E1E5-B649-9DDB-CBFD3668EE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1</a:t>
                </a:r>
              </a:p>
            </p:txBody>
          </p:sp>
          <p:sp>
            <p:nvSpPr>
              <p:cNvPr id="17" name="Text Placeholder 3">
                <a:extLst>
                  <a:ext uri="{FF2B5EF4-FFF2-40B4-BE49-F238E27FC236}">
                    <a16:creationId xmlns:a16="http://schemas.microsoft.com/office/drawing/2014/main" id="{AE3E4498-59F4-3044-8A43-9F67CDC963F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Market Position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F82A2F0-1727-2D4A-8180-C0BA8C88E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49301" y="2630933"/>
              <a:ext cx="929437" cy="359101"/>
            </a:xfrm>
            <a:prstGeom prst="rect">
              <a:avLst/>
            </a:prstGeom>
          </p:spPr>
        </p:pic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9A0630E3-CE67-3D4C-B1B6-864BA6BD540B}"/>
                </a:ext>
              </a:extLst>
            </p:cNvPr>
            <p:cNvSpPr/>
            <p:nvPr/>
          </p:nvSpPr>
          <p:spPr>
            <a:xfrm>
              <a:off x="8084988" y="2534327"/>
              <a:ext cx="2363592" cy="757389"/>
            </a:xfrm>
            <a:custGeom>
              <a:avLst/>
              <a:gdLst>
                <a:gd name="connsiteX0" fmla="*/ 0 w 2363592"/>
                <a:gd name="connsiteY0" fmla="*/ 0 h 757389"/>
                <a:gd name="connsiteX1" fmla="*/ 2363592 w 2363592"/>
                <a:gd name="connsiteY1" fmla="*/ 0 h 757389"/>
                <a:gd name="connsiteX2" fmla="*/ 2265143 w 2363592"/>
                <a:gd name="connsiteY2" fmla="*/ 181378 h 757389"/>
                <a:gd name="connsiteX3" fmla="*/ 1181796 w 2363592"/>
                <a:gd name="connsiteY3" fmla="*/ 757389 h 757389"/>
                <a:gd name="connsiteX4" fmla="*/ 98449 w 2363592"/>
                <a:gd name="connsiteY4" fmla="*/ 181378 h 75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592" h="757389">
                  <a:moveTo>
                    <a:pt x="0" y="0"/>
                  </a:moveTo>
                  <a:lnTo>
                    <a:pt x="2363592" y="0"/>
                  </a:lnTo>
                  <a:lnTo>
                    <a:pt x="2265143" y="181378"/>
                  </a:lnTo>
                  <a:cubicBezTo>
                    <a:pt x="2030361" y="528902"/>
                    <a:pt x="1632762" y="757389"/>
                    <a:pt x="1181796" y="757389"/>
                  </a:cubicBezTo>
                  <a:cubicBezTo>
                    <a:pt x="730830" y="757389"/>
                    <a:pt x="333231" y="528902"/>
                    <a:pt x="98449" y="181378"/>
                  </a:cubicBezTo>
                  <a:close/>
                </a:path>
              </a:pathLst>
            </a:custGeom>
            <a:solidFill>
              <a:schemeClr val="accent3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F45BFFF-991C-474F-A3BF-C87D4F4BF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43040" y="2687842"/>
              <a:ext cx="447488" cy="479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184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5C14F-2216-8743-BF54-D7B4593F0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3071187"/>
            <a:ext cx="10338367" cy="715626"/>
          </a:xfrm>
        </p:spPr>
        <p:txBody>
          <a:bodyPr/>
          <a:lstStyle/>
          <a:p>
            <a:r>
              <a:rPr lang="en-US"/>
              <a:t>Our Global Initiativ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4031A9D-E0E0-B543-BB6C-8A750CAA99E0}"/>
              </a:ext>
            </a:extLst>
          </p:cNvPr>
          <p:cNvCxnSpPr>
            <a:cxnSpLocks/>
          </p:cNvCxnSpPr>
          <p:nvPr/>
        </p:nvCxnSpPr>
        <p:spPr>
          <a:xfrm>
            <a:off x="1092758" y="2857500"/>
            <a:ext cx="0" cy="1143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05156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677ACB-9302-634F-9811-8E5D7DF7B6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5336"/>
          <a:stretch/>
        </p:blipFill>
        <p:spPr>
          <a:xfrm>
            <a:off x="-1" y="0"/>
            <a:ext cx="12191999" cy="36576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DBE5B7-D29A-CE40-841A-AB364513A90E}"/>
              </a:ext>
            </a:extLst>
          </p:cNvPr>
          <p:cNvSpPr/>
          <p:nvPr/>
        </p:nvSpPr>
        <p:spPr>
          <a:xfrm>
            <a:off x="2614863" y="0"/>
            <a:ext cx="9384630" cy="3657602"/>
          </a:xfrm>
          <a:prstGeom prst="rect">
            <a:avLst/>
          </a:prstGeom>
          <a:gradFill>
            <a:gsLst>
              <a:gs pos="3300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B14C3A-EED1-0F4F-A09B-803548F88FF4}"/>
              </a:ext>
            </a:extLst>
          </p:cNvPr>
          <p:cNvSpPr/>
          <p:nvPr/>
        </p:nvSpPr>
        <p:spPr>
          <a:xfrm>
            <a:off x="2807368" y="0"/>
            <a:ext cx="9384630" cy="3657602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A1DD1D-605B-4B4D-A458-B3D51410B7A3}"/>
              </a:ext>
            </a:extLst>
          </p:cNvPr>
          <p:cNvSpPr/>
          <p:nvPr/>
        </p:nvSpPr>
        <p:spPr>
          <a:xfrm>
            <a:off x="1" y="3657602"/>
            <a:ext cx="12192000" cy="32003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82D1B47-7A99-AD43-8AA2-8A3319EF0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367" y="1085088"/>
            <a:ext cx="9270751" cy="265266"/>
          </a:xfrm>
        </p:spPr>
        <p:txBody>
          <a:bodyPr/>
          <a:lstStyle/>
          <a:p>
            <a:r>
              <a:rPr lang="en-US"/>
              <a:t>DEEP EXPERTISE IN COATINGS ENABLES CUTTING EDGE PRODUCT INNOVATIONS FOR OUR CUSTOME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5B1C4A3-2207-304B-8ED9-CFA0E5B836A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413" y="6418320"/>
            <a:ext cx="477296" cy="386080"/>
          </a:xfrm>
          <a:prstGeom prst="rect">
            <a:avLst/>
          </a:prstGeom>
        </p:spPr>
      </p:pic>
      <p:sp>
        <p:nvSpPr>
          <p:cNvPr id="15" name="Subtitle 2">
            <a:extLst>
              <a:ext uri="{FF2B5EF4-FFF2-40B4-BE49-F238E27FC236}">
                <a16:creationId xmlns:a16="http://schemas.microsoft.com/office/drawing/2014/main" id="{96D77106-E0AC-2F4D-BCA7-00C8CD8F0AD6}"/>
              </a:ext>
            </a:extLst>
          </p:cNvPr>
          <p:cNvSpPr txBox="1">
            <a:spLocks/>
          </p:cNvSpPr>
          <p:nvPr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solidFill>
                  <a:schemeClr val="tx1"/>
                </a:solidFill>
                <a:latin typeface="Arial" panose="020B0604020202020204" pitchFamily="34" charset="0"/>
              </a:rPr>
              <a:pPr algn="l"/>
              <a:t>13</a:t>
            </a:fld>
            <a:endParaRPr lang="en-US" sz="900" b="0" i="0" baseline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DCC60D-A35A-4B4B-BDA9-47736F291E0D}"/>
              </a:ext>
            </a:extLst>
          </p:cNvPr>
          <p:cNvSpPr txBox="1"/>
          <p:nvPr/>
        </p:nvSpPr>
        <p:spPr>
          <a:xfrm>
            <a:off x="293588" y="6541163"/>
            <a:ext cx="187452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50" b="0" i="0" spc="100" baseline="0">
                <a:solidFill>
                  <a:schemeClr val="tx1"/>
                </a:solidFill>
                <a:latin typeface="Arial" panose="020B0604020202020204" pitchFamily="34" charset="0"/>
                <a:ea typeface="Neo Sans Pro" charset="0"/>
                <a:cs typeface="Arial" panose="020B0604020202020204" pitchFamily="34" charset="0"/>
              </a:rPr>
              <a:t>PROPRIETARY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D9B3105-97B9-0245-B99D-830883F6784A}"/>
              </a:ext>
            </a:extLst>
          </p:cNvPr>
          <p:cNvGrpSpPr/>
          <p:nvPr/>
        </p:nvGrpSpPr>
        <p:grpSpPr>
          <a:xfrm>
            <a:off x="485551" y="2314123"/>
            <a:ext cx="3274885" cy="3572097"/>
            <a:chOff x="485551" y="2314123"/>
            <a:chExt cx="3274885" cy="3572097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AE6BDDF-C385-504E-9AE2-E122EBB5DE14}"/>
                </a:ext>
              </a:extLst>
            </p:cNvPr>
            <p:cNvGrpSpPr/>
            <p:nvPr/>
          </p:nvGrpSpPr>
          <p:grpSpPr>
            <a:xfrm>
              <a:off x="485551" y="2314123"/>
              <a:ext cx="3274885" cy="1751908"/>
              <a:chOff x="485551" y="2314123"/>
              <a:chExt cx="3274885" cy="1751908"/>
            </a:xfrm>
          </p:grpSpPr>
          <p:pic>
            <p:nvPicPr>
              <p:cNvPr id="12" name="Picture 11" descr="A picture containing indoor&#10;&#10;Description automatically generated">
                <a:extLst>
                  <a:ext uri="{FF2B5EF4-FFF2-40B4-BE49-F238E27FC236}">
                    <a16:creationId xmlns:a16="http://schemas.microsoft.com/office/drawing/2014/main" id="{26A31D15-E38D-F048-B333-E0683A22719E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5552" y="2317766"/>
                <a:ext cx="3274884" cy="1744623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617CA77-D45C-3E46-997C-C3C3D8D244C8}"/>
                  </a:ext>
                </a:extLst>
              </p:cNvPr>
              <p:cNvSpPr txBox="1"/>
              <p:nvPr/>
            </p:nvSpPr>
            <p:spPr>
              <a:xfrm>
                <a:off x="485551" y="2314123"/>
                <a:ext cx="3274884" cy="1751908"/>
              </a:xfrm>
              <a:prstGeom prst="rect">
                <a:avLst/>
              </a:prstGeom>
              <a:solidFill>
                <a:schemeClr val="tx1">
                  <a:alpha val="60000"/>
                </a:schemeClr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C82027"/>
                  </a:buClr>
                  <a:buSzTx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ocus on color technology, polymer &amp; formulation </a:t>
                </a:r>
                <a:b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emistry and </a:t>
                </a:r>
                <a:b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atings application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7909421-900F-AE49-9CDA-E0566AD209B6}"/>
                </a:ext>
              </a:extLst>
            </p:cNvPr>
            <p:cNvGrpSpPr/>
            <p:nvPr/>
          </p:nvGrpSpPr>
          <p:grpSpPr>
            <a:xfrm>
              <a:off x="717127" y="5029800"/>
              <a:ext cx="2811732" cy="856420"/>
              <a:chOff x="7481333" y="902202"/>
              <a:chExt cx="2811732" cy="856420"/>
            </a:xfrm>
          </p:grpSpPr>
          <p:sp>
            <p:nvSpPr>
              <p:cNvPr id="18" name="Text Placeholder 2">
                <a:extLst>
                  <a:ext uri="{FF2B5EF4-FFF2-40B4-BE49-F238E27FC236}">
                    <a16:creationId xmlns:a16="http://schemas.microsoft.com/office/drawing/2014/main" id="{7AD0ABEA-42D7-6F41-B3E4-80EEC2975E8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>
                    <a:solidFill>
                      <a:schemeClr val="accent5"/>
                    </a:solidFill>
                  </a:rPr>
                  <a:t>&gt;500/</a:t>
                </a:r>
                <a:r>
                  <a:rPr lang="en-US" sz="4800" b="1" err="1">
                    <a:solidFill>
                      <a:schemeClr val="accent5"/>
                    </a:solidFill>
                  </a:rPr>
                  <a:t>yr</a:t>
                </a:r>
                <a:endParaRPr lang="en-US" sz="4800" b="1">
                  <a:solidFill>
                    <a:schemeClr val="accent5"/>
                  </a:solidFill>
                </a:endParaRPr>
              </a:p>
            </p:txBody>
          </p:sp>
          <p:sp>
            <p:nvSpPr>
              <p:cNvPr id="19" name="Text Placeholder 3">
                <a:extLst>
                  <a:ext uri="{FF2B5EF4-FFF2-40B4-BE49-F238E27FC236}">
                    <a16:creationId xmlns:a16="http://schemas.microsoft.com/office/drawing/2014/main" id="{C34F93CE-11D9-BE48-B97A-5F5520B392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Product Modifications</a:t>
                </a: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032119E-6C00-B442-B188-6A0FA6C4092B}"/>
              </a:ext>
            </a:extLst>
          </p:cNvPr>
          <p:cNvGrpSpPr/>
          <p:nvPr/>
        </p:nvGrpSpPr>
        <p:grpSpPr>
          <a:xfrm>
            <a:off x="4444675" y="2333921"/>
            <a:ext cx="3302651" cy="3552299"/>
            <a:chOff x="4444675" y="2333921"/>
            <a:chExt cx="3302651" cy="355229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960B116-B031-3042-8AB8-EBF2EF536127}"/>
                </a:ext>
              </a:extLst>
            </p:cNvPr>
            <p:cNvGrpSpPr/>
            <p:nvPr/>
          </p:nvGrpSpPr>
          <p:grpSpPr>
            <a:xfrm>
              <a:off x="4444675" y="2333921"/>
              <a:ext cx="3302651" cy="1712312"/>
              <a:chOff x="4481241" y="2333921"/>
              <a:chExt cx="3302651" cy="1712312"/>
            </a:xfrm>
          </p:grpSpPr>
          <p:pic>
            <p:nvPicPr>
              <p:cNvPr id="21" name="Picture 20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E3CB0967-C136-514F-B9C0-8FCF07BBD3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481242" y="2341180"/>
                <a:ext cx="3302650" cy="1697795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D2E566C-BA15-4245-B638-D103CAFE75A4}"/>
                  </a:ext>
                </a:extLst>
              </p:cNvPr>
              <p:cNvSpPr txBox="1"/>
              <p:nvPr/>
            </p:nvSpPr>
            <p:spPr>
              <a:xfrm>
                <a:off x="4481241" y="2333921"/>
                <a:ext cx="3302648" cy="1712312"/>
              </a:xfrm>
              <a:prstGeom prst="rect">
                <a:avLst/>
              </a:prstGeom>
              <a:solidFill>
                <a:schemeClr val="tx1">
                  <a:alpha val="60000"/>
                </a:schemeClr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rgbClr val="C82027"/>
                  </a:buClr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lobal technology community </a:t>
                </a:r>
                <a:b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f </a:t>
                </a:r>
                <a:r>
                  <a:rPr lang="en-US"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1,300 </a:t>
                </a: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cientists, engineers and technicians with diverse skills/disciplines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DC38600-AB66-AD49-A8E3-29F246B0B573}"/>
                </a:ext>
              </a:extLst>
            </p:cNvPr>
            <p:cNvGrpSpPr/>
            <p:nvPr/>
          </p:nvGrpSpPr>
          <p:grpSpPr>
            <a:xfrm>
              <a:off x="4444677" y="5029800"/>
              <a:ext cx="3302647" cy="856420"/>
              <a:chOff x="7481333" y="902202"/>
              <a:chExt cx="2811732" cy="856420"/>
            </a:xfrm>
          </p:grpSpPr>
          <p:sp>
            <p:nvSpPr>
              <p:cNvPr id="24" name="Text Placeholder 2">
                <a:extLst>
                  <a:ext uri="{FF2B5EF4-FFF2-40B4-BE49-F238E27FC236}">
                    <a16:creationId xmlns:a16="http://schemas.microsoft.com/office/drawing/2014/main" id="{8CF1A77B-3D15-014D-BA99-5C8EBAF25CE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>
                    <a:solidFill>
                      <a:schemeClr val="accent5"/>
                    </a:solidFill>
                  </a:rPr>
                  <a:t>~20K/</a:t>
                </a:r>
                <a:r>
                  <a:rPr lang="en-US" sz="4800" b="1" err="1">
                    <a:solidFill>
                      <a:schemeClr val="accent5"/>
                    </a:solidFill>
                  </a:rPr>
                  <a:t>yr</a:t>
                </a:r>
                <a:endParaRPr lang="en-US" sz="4800" b="1">
                  <a:solidFill>
                    <a:schemeClr val="accent5"/>
                  </a:solidFill>
                </a:endParaRPr>
              </a:p>
            </p:txBody>
          </p:sp>
          <p:sp>
            <p:nvSpPr>
              <p:cNvPr id="25" name="Text Placeholder 3">
                <a:extLst>
                  <a:ext uri="{FF2B5EF4-FFF2-40B4-BE49-F238E27FC236}">
                    <a16:creationId xmlns:a16="http://schemas.microsoft.com/office/drawing/2014/main" id="{12134C7C-0870-3E4F-8547-51A6200FAAF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Service Requests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5475E93-F820-824D-BAB8-673D550790CD}"/>
              </a:ext>
            </a:extLst>
          </p:cNvPr>
          <p:cNvGrpSpPr/>
          <p:nvPr/>
        </p:nvGrpSpPr>
        <p:grpSpPr>
          <a:xfrm>
            <a:off x="8452083" y="2341180"/>
            <a:ext cx="3305804" cy="3545040"/>
            <a:chOff x="8452083" y="2341180"/>
            <a:chExt cx="3305804" cy="3545040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16AE6B5-0CE9-9A46-9896-2B7754E03EBD}"/>
                </a:ext>
              </a:extLst>
            </p:cNvPr>
            <p:cNvGrpSpPr/>
            <p:nvPr/>
          </p:nvGrpSpPr>
          <p:grpSpPr>
            <a:xfrm>
              <a:off x="8452083" y="2341180"/>
              <a:ext cx="3305804" cy="1697795"/>
              <a:chOff x="8463804" y="2341180"/>
              <a:chExt cx="3305804" cy="1697795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162C30E3-477E-4F45-9359-A903EAF8B0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463807" y="2341180"/>
                <a:ext cx="3305801" cy="1697795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E91ECAD-B538-5243-B0EA-B5CA9E671000}"/>
                  </a:ext>
                </a:extLst>
              </p:cNvPr>
              <p:cNvSpPr txBox="1"/>
              <p:nvPr/>
            </p:nvSpPr>
            <p:spPr>
              <a:xfrm>
                <a:off x="8463804" y="2343444"/>
                <a:ext cx="3305801" cy="1693266"/>
              </a:xfrm>
              <a:prstGeom prst="rect">
                <a:avLst/>
              </a:prstGeom>
              <a:solidFill>
                <a:schemeClr val="tx1">
                  <a:alpha val="60000"/>
                </a:schemeClr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lvl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C82027"/>
                  </a:buClr>
                  <a:buSzTx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ocused teams for product development, process enhancements and </a:t>
                </a:r>
                <a:b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echnical support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BD69B42-D74C-6443-ACE0-3CAD581C0C95}"/>
                </a:ext>
              </a:extLst>
            </p:cNvPr>
            <p:cNvGrpSpPr/>
            <p:nvPr/>
          </p:nvGrpSpPr>
          <p:grpSpPr>
            <a:xfrm>
              <a:off x="8453662" y="5029800"/>
              <a:ext cx="3302647" cy="856420"/>
              <a:chOff x="7481333" y="902202"/>
              <a:chExt cx="2811732" cy="856420"/>
            </a:xfrm>
          </p:grpSpPr>
          <p:sp>
            <p:nvSpPr>
              <p:cNvPr id="30" name="Text Placeholder 2">
                <a:extLst>
                  <a:ext uri="{FF2B5EF4-FFF2-40B4-BE49-F238E27FC236}">
                    <a16:creationId xmlns:a16="http://schemas.microsoft.com/office/drawing/2014/main" id="{A0334A13-DE14-4D4F-9671-3C5F26036B4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>
                    <a:solidFill>
                      <a:schemeClr val="accent5"/>
                    </a:solidFill>
                  </a:rPr>
                  <a:t>&gt;20K/</a:t>
                </a:r>
                <a:r>
                  <a:rPr lang="en-US" sz="4800" b="1" err="1">
                    <a:solidFill>
                      <a:schemeClr val="accent5"/>
                    </a:solidFill>
                  </a:rPr>
                  <a:t>yr</a:t>
                </a:r>
                <a:endParaRPr lang="en-US" sz="4800" b="1">
                  <a:solidFill>
                    <a:schemeClr val="accent5"/>
                  </a:solidFill>
                </a:endParaRPr>
              </a:p>
            </p:txBody>
          </p:sp>
          <p:sp>
            <p:nvSpPr>
              <p:cNvPr id="31" name="Text Placeholder 3">
                <a:extLst>
                  <a:ext uri="{FF2B5EF4-FFF2-40B4-BE49-F238E27FC236}">
                    <a16:creationId xmlns:a16="http://schemas.microsoft.com/office/drawing/2014/main" id="{DD259452-492C-034F-984A-C1D17015BE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Color Developments</a:t>
                </a:r>
              </a:p>
            </p:txBody>
          </p:sp>
        </p:grpSp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9D39CCD-A942-1348-9D23-3BCC53FE86BC}"/>
              </a:ext>
            </a:extLst>
          </p:cNvPr>
          <p:cNvCxnSpPr>
            <a:cxnSpLocks/>
          </p:cNvCxnSpPr>
          <p:nvPr/>
        </p:nvCxnSpPr>
        <p:spPr>
          <a:xfrm>
            <a:off x="4102555" y="4827494"/>
            <a:ext cx="0" cy="105872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2E9806F-DCD1-0B40-BE3B-DF7D9B7893A5}"/>
              </a:ext>
            </a:extLst>
          </p:cNvPr>
          <p:cNvCxnSpPr>
            <a:cxnSpLocks/>
          </p:cNvCxnSpPr>
          <p:nvPr/>
        </p:nvCxnSpPr>
        <p:spPr>
          <a:xfrm>
            <a:off x="8099704" y="4827494"/>
            <a:ext cx="0" cy="105872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D14D668-14BA-EC47-A6B2-11C750B6F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8200412" cy="992186"/>
          </a:xfrm>
        </p:spPr>
        <p:txBody>
          <a:bodyPr/>
          <a:lstStyle/>
          <a:p>
            <a:r>
              <a:rPr lang="en-US"/>
              <a:t>Innovation at Axalta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66206B-3682-BE4D-98EA-660D4814A696}"/>
              </a:ext>
            </a:extLst>
          </p:cNvPr>
          <p:cNvCxnSpPr>
            <a:cxnSpLocks/>
          </p:cNvCxnSpPr>
          <p:nvPr/>
        </p:nvCxnSpPr>
        <p:spPr>
          <a:xfrm>
            <a:off x="17937" y="0"/>
            <a:ext cx="0" cy="6858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5"/>
                </a:gs>
                <a:gs pos="100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9931F67-46C5-C64A-9F47-3A823E1FEE5F}"/>
              </a:ext>
            </a:extLst>
          </p:cNvPr>
          <p:cNvCxnSpPr>
            <a:cxnSpLocks/>
          </p:cNvCxnSpPr>
          <p:nvPr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590305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18FE4738-4F43-584E-BA50-E5D744A87A77}"/>
              </a:ext>
            </a:extLst>
          </p:cNvPr>
          <p:cNvSpPr/>
          <p:nvPr/>
        </p:nvSpPr>
        <p:spPr>
          <a:xfrm>
            <a:off x="141567" y="0"/>
            <a:ext cx="514663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24352C-1C87-004C-B13A-D1EFC2CDA8C7}"/>
              </a:ext>
            </a:extLst>
          </p:cNvPr>
          <p:cNvSpPr/>
          <p:nvPr/>
        </p:nvSpPr>
        <p:spPr>
          <a:xfrm>
            <a:off x="0" y="0"/>
            <a:ext cx="12192000" cy="10850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E1989F-4832-604C-B55B-E0DC07554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nnovation: Strategic Approach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5A8372B-5FCB-3748-B3B1-8B113B44C025}"/>
              </a:ext>
            </a:extLst>
          </p:cNvPr>
          <p:cNvCxnSpPr>
            <a:cxnSpLocks/>
          </p:cNvCxnSpPr>
          <p:nvPr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F98301F5-333B-C54D-AE8D-6F7ED71FF18C}"/>
              </a:ext>
            </a:extLst>
          </p:cNvPr>
          <p:cNvSpPr txBox="1">
            <a:spLocks/>
          </p:cNvSpPr>
          <p:nvPr/>
        </p:nvSpPr>
        <p:spPr>
          <a:xfrm>
            <a:off x="478367" y="1400239"/>
            <a:ext cx="3869044" cy="3343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FOCUS ON CUSTOMER NEEDS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6798112-20BE-8E4C-AD78-1D174DF659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6" y="1769149"/>
            <a:ext cx="4614658" cy="634235"/>
          </a:xfrm>
        </p:spPr>
        <p:txBody>
          <a:bodyPr/>
          <a:lstStyle/>
          <a:p>
            <a:r>
              <a:rPr lang="en-US" sz="1400"/>
              <a:t>Deep understanding of market and customer needs</a:t>
            </a:r>
          </a:p>
          <a:p>
            <a:r>
              <a:rPr lang="en-US" sz="1400" spc="-20"/>
              <a:t>Focused projects to address existing and future needs</a:t>
            </a:r>
          </a:p>
          <a:p>
            <a:pPr marL="0" indent="0">
              <a:buNone/>
            </a:pPr>
            <a:endParaRPr lang="en-US" sz="1400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4F88627D-70FA-D341-A34A-2CE5CB1BA57A}"/>
              </a:ext>
            </a:extLst>
          </p:cNvPr>
          <p:cNvSpPr txBox="1">
            <a:spLocks/>
          </p:cNvSpPr>
          <p:nvPr/>
        </p:nvSpPr>
        <p:spPr>
          <a:xfrm>
            <a:off x="2962682" y="3087446"/>
            <a:ext cx="4614658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Sustainability</a:t>
            </a:r>
          </a:p>
          <a:p>
            <a:r>
              <a:rPr lang="en-US" sz="1400"/>
              <a:t>Reduced emissions</a:t>
            </a:r>
          </a:p>
          <a:p>
            <a:r>
              <a:rPr lang="en-US" sz="1400"/>
              <a:t>Lower usage</a:t>
            </a:r>
          </a:p>
          <a:p>
            <a:r>
              <a:rPr lang="en-US" sz="1400"/>
              <a:t>Reduced energy</a:t>
            </a:r>
          </a:p>
          <a:p>
            <a:endParaRPr lang="en-US" sz="1400"/>
          </a:p>
          <a:p>
            <a:endParaRPr lang="en-US" sz="1400"/>
          </a:p>
          <a:p>
            <a:pPr marL="0" indent="0">
              <a:buNone/>
            </a:pPr>
            <a:r>
              <a:rPr lang="en-US" sz="1400" b="1"/>
              <a:t>Performance</a:t>
            </a:r>
          </a:p>
          <a:p>
            <a:r>
              <a:rPr lang="en-US" sz="1400"/>
              <a:t>Durability</a:t>
            </a:r>
          </a:p>
          <a:p>
            <a:r>
              <a:rPr lang="en-US" sz="1400"/>
              <a:t>Multi substrate</a:t>
            </a:r>
          </a:p>
          <a:p>
            <a:r>
              <a:rPr lang="en-US" sz="1400"/>
              <a:t>Electric motor </a:t>
            </a:r>
            <a:br>
              <a:rPr lang="en-US" sz="1400"/>
            </a:br>
            <a:r>
              <a:rPr lang="en-US" sz="1400"/>
              <a:t>insulation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64E8B8B-76E1-594F-9C77-62E7E7D82BE6}"/>
              </a:ext>
            </a:extLst>
          </p:cNvPr>
          <p:cNvSpPr txBox="1">
            <a:spLocks/>
          </p:cNvSpPr>
          <p:nvPr/>
        </p:nvSpPr>
        <p:spPr>
          <a:xfrm>
            <a:off x="478366" y="3087445"/>
            <a:ext cx="2264834" cy="30196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Color Aesthetics</a:t>
            </a:r>
          </a:p>
          <a:p>
            <a:r>
              <a:rPr lang="en-US" sz="1400"/>
              <a:t>Unique style and flair</a:t>
            </a:r>
          </a:p>
          <a:p>
            <a:r>
              <a:rPr lang="en-US" sz="1400"/>
              <a:t>Visually interesting</a:t>
            </a:r>
          </a:p>
          <a:p>
            <a:r>
              <a:rPr lang="en-US" sz="1400"/>
              <a:t>Expanded color palette</a:t>
            </a:r>
          </a:p>
          <a:p>
            <a:endParaRPr lang="en-US" sz="1400"/>
          </a:p>
          <a:p>
            <a:endParaRPr lang="en-US" sz="1400"/>
          </a:p>
          <a:p>
            <a:pPr marL="0" indent="0">
              <a:buNone/>
            </a:pPr>
            <a:r>
              <a:rPr lang="en-US" sz="1400" b="1"/>
              <a:t>Productivity</a:t>
            </a:r>
          </a:p>
          <a:p>
            <a:r>
              <a:rPr lang="en-US" sz="1400"/>
              <a:t>Cycle time improvement</a:t>
            </a:r>
          </a:p>
          <a:p>
            <a:r>
              <a:rPr lang="en-US" sz="1400"/>
              <a:t>Faster drying</a:t>
            </a:r>
          </a:p>
          <a:p>
            <a:r>
              <a:rPr lang="en-US" sz="1400"/>
              <a:t>Mass customization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2AA3AA7A-9226-8847-BA6E-4DFB8A7D4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0597" y="4575178"/>
            <a:ext cx="350732" cy="315659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33B1EEB-C135-034D-8C69-34DD8BD5D1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909" y="4575178"/>
            <a:ext cx="364222" cy="31565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B6B43B58-74E2-F34A-B0A1-87BBC59488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2682" y="2669963"/>
            <a:ext cx="370572" cy="301090"/>
          </a:xfrm>
          <a:prstGeom prst="rect">
            <a:avLst/>
          </a:prstGeom>
        </p:spPr>
      </p:pic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A087D45-CFD4-C741-8B7F-D2C0C838477D}"/>
              </a:ext>
            </a:extLst>
          </p:cNvPr>
          <p:cNvSpPr txBox="1">
            <a:spLocks/>
          </p:cNvSpPr>
          <p:nvPr/>
        </p:nvSpPr>
        <p:spPr>
          <a:xfrm>
            <a:off x="5388029" y="1400239"/>
            <a:ext cx="2670732" cy="3343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INVEST FOR GROWTH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31D11E79-AEA1-2D44-89C2-245D9A8E3416}"/>
              </a:ext>
            </a:extLst>
          </p:cNvPr>
          <p:cNvSpPr txBox="1">
            <a:spLocks/>
          </p:cNvSpPr>
          <p:nvPr/>
        </p:nvSpPr>
        <p:spPr>
          <a:xfrm>
            <a:off x="5388028" y="1769149"/>
            <a:ext cx="3122005" cy="6342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Market leading investment</a:t>
            </a:r>
          </a:p>
          <a:p>
            <a:r>
              <a:rPr lang="en-US" sz="1400"/>
              <a:t>Leading products and technologies</a:t>
            </a:r>
          </a:p>
          <a:p>
            <a:endParaRPr lang="en-US" sz="1400"/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44877519-1927-1247-88C8-31312F5C6573}"/>
              </a:ext>
            </a:extLst>
          </p:cNvPr>
          <p:cNvSpPr txBox="1">
            <a:spLocks/>
          </p:cNvSpPr>
          <p:nvPr/>
        </p:nvSpPr>
        <p:spPr>
          <a:xfrm>
            <a:off x="5388027" y="3087446"/>
            <a:ext cx="3045775" cy="30196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/>
              <a:t>2021 Technology Investment</a:t>
            </a:r>
          </a:p>
          <a:p>
            <a:r>
              <a:rPr lang="en-US" sz="1400"/>
              <a:t>4% R&amp;D and technical services investment in 2021</a:t>
            </a:r>
          </a:p>
          <a:p>
            <a:r>
              <a:rPr lang="en-US" sz="1400"/>
              <a:t>Investment across all </a:t>
            </a:r>
            <a:br>
              <a:rPr lang="en-US" sz="1400"/>
            </a:br>
            <a:r>
              <a:rPr lang="en-US" sz="1400"/>
              <a:t>business segments</a:t>
            </a:r>
          </a:p>
          <a:p>
            <a:r>
              <a:rPr lang="en-US" sz="1400"/>
              <a:t>50 new product platforms introduced per year that drive </a:t>
            </a:r>
            <a:br>
              <a:rPr lang="en-US" sz="1400"/>
            </a:br>
            <a:r>
              <a:rPr lang="en-US" sz="1400"/>
              <a:t>the majority of organic growth</a:t>
            </a:r>
          </a:p>
          <a:p>
            <a:r>
              <a:rPr lang="en-US" sz="1400"/>
              <a:t>Focused customer solutions </a:t>
            </a:r>
            <a:br>
              <a:rPr lang="en-US" sz="1400"/>
            </a:br>
            <a:r>
              <a:rPr lang="en-US" sz="1400"/>
              <a:t>that drive growth and defend </a:t>
            </a:r>
            <a:br>
              <a:rPr lang="en-US" sz="1400"/>
            </a:br>
            <a:r>
              <a:rPr lang="en-US" sz="1400"/>
              <a:t>key business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EEF0BA01-CE87-AE4B-91E2-15B6A52CB2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8027" y="2528582"/>
            <a:ext cx="524167" cy="436806"/>
          </a:xfrm>
          <a:prstGeom prst="rect">
            <a:avLst/>
          </a:prstGeom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DA97637F-768C-1D4F-BA69-AB5917E2D27B}"/>
              </a:ext>
            </a:extLst>
          </p:cNvPr>
          <p:cNvSpPr txBox="1"/>
          <p:nvPr/>
        </p:nvSpPr>
        <p:spPr>
          <a:xfrm>
            <a:off x="293588" y="6541163"/>
            <a:ext cx="187452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50" b="0" i="0" spc="100" baseline="0">
                <a:solidFill>
                  <a:schemeClr val="tx1"/>
                </a:solidFill>
                <a:latin typeface="Arial" panose="020B0604020202020204" pitchFamily="34" charset="0"/>
                <a:ea typeface="Neo Sans Pro" charset="0"/>
                <a:cs typeface="Arial" panose="020B0604020202020204" pitchFamily="34" charset="0"/>
              </a:rPr>
              <a:t>PROPRIETAR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F27D65-BB0E-AD45-9F95-99DFDA1714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281" y="2572821"/>
            <a:ext cx="376542" cy="37654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5874217-C2F2-A24E-A740-4F72D0DD6529}"/>
              </a:ext>
            </a:extLst>
          </p:cNvPr>
          <p:cNvGrpSpPr/>
          <p:nvPr/>
        </p:nvGrpSpPr>
        <p:grpSpPr>
          <a:xfrm>
            <a:off x="8741630" y="1085088"/>
            <a:ext cx="3450370" cy="5772912"/>
            <a:chOff x="8999619" y="1085088"/>
            <a:chExt cx="3450370" cy="613836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935DB430-DA7B-7E43-BE6F-59711857EE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999619" y="1085088"/>
              <a:ext cx="3450369" cy="6138368"/>
            </a:xfrm>
            <a:prstGeom prst="rect">
              <a:avLst/>
            </a:prstGeom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3E30EF0-1AEF-AA4D-B4A5-5E96FCA1165F}"/>
                </a:ext>
              </a:extLst>
            </p:cNvPr>
            <p:cNvGrpSpPr/>
            <p:nvPr/>
          </p:nvGrpSpPr>
          <p:grpSpPr>
            <a:xfrm>
              <a:off x="8999621" y="1085088"/>
              <a:ext cx="3450368" cy="6138368"/>
              <a:chOff x="8999621" y="1085088"/>
              <a:chExt cx="3450368" cy="6138368"/>
            </a:xfrm>
          </p:grpSpPr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7326566B-2E61-C54F-AA9C-DEB9C4240D5C}"/>
                  </a:ext>
                </a:extLst>
              </p:cNvPr>
              <p:cNvSpPr/>
              <p:nvPr/>
            </p:nvSpPr>
            <p:spPr>
              <a:xfrm>
                <a:off x="8999621" y="1085088"/>
                <a:ext cx="3450368" cy="6138368"/>
              </a:xfrm>
              <a:prstGeom prst="rect">
                <a:avLst/>
              </a:prstGeom>
              <a:solidFill>
                <a:schemeClr val="bg1">
                  <a:alpha val="7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Text Placeholder 2">
                <a:extLst>
                  <a:ext uri="{FF2B5EF4-FFF2-40B4-BE49-F238E27FC236}">
                    <a16:creationId xmlns:a16="http://schemas.microsoft.com/office/drawing/2014/main" id="{3610D6E9-C703-B040-BB70-B5C288023A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3435" y="1434207"/>
                <a:ext cx="3038418" cy="33437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5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/>
                  <a:t>INNOVATION ADVANTAGE</a:t>
                </a:r>
              </a:p>
            </p:txBody>
          </p:sp>
          <p:sp>
            <p:nvSpPr>
              <p:cNvPr id="119" name="Text Placeholder 3">
                <a:extLst>
                  <a:ext uri="{FF2B5EF4-FFF2-40B4-BE49-F238E27FC236}">
                    <a16:creationId xmlns:a16="http://schemas.microsoft.com/office/drawing/2014/main" id="{B11EAD93-4ABE-BD4C-8518-6338A5DBF5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6320" y="1808730"/>
                <a:ext cx="2476138" cy="634235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/>
                  <a:t>Accelerated organic growth</a:t>
                </a:r>
              </a:p>
              <a:p>
                <a:r>
                  <a:rPr lang="en-US" sz="1400"/>
                  <a:t>Sustainable solutions</a:t>
                </a:r>
              </a:p>
              <a:p>
                <a:r>
                  <a:rPr lang="en-US" sz="1400"/>
                  <a:t>Preferred supplier / partner</a:t>
                </a:r>
              </a:p>
            </p:txBody>
          </p:sp>
          <p:sp>
            <p:nvSpPr>
              <p:cNvPr id="29" name="Text Placeholder 3">
                <a:extLst>
                  <a:ext uri="{FF2B5EF4-FFF2-40B4-BE49-F238E27FC236}">
                    <a16:creationId xmlns:a16="http://schemas.microsoft.com/office/drawing/2014/main" id="{020CDE2E-6D0D-B545-9BF3-F51131C2BEA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3435" y="3446779"/>
                <a:ext cx="2581883" cy="222950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US" sz="1400" b="1"/>
                  <a:t>Innovation: Beyond Products</a:t>
                </a:r>
              </a:p>
              <a:p>
                <a:r>
                  <a:rPr lang="en-US" sz="1400"/>
                  <a:t>Processes: </a:t>
                </a:r>
                <a:br>
                  <a:rPr lang="en-US" sz="1400"/>
                </a:br>
                <a:r>
                  <a:rPr lang="en-US" sz="1400"/>
                  <a:t>Changing approach to increase efficiency</a:t>
                </a:r>
              </a:p>
              <a:p>
                <a:r>
                  <a:rPr lang="en-US" sz="1400"/>
                  <a:t>Services: Unique ways to meet diverse customer needs</a:t>
                </a:r>
              </a:p>
              <a:p>
                <a:r>
                  <a:rPr lang="en-US" sz="1400"/>
                  <a:t>Digitalization: Exploring </a:t>
                </a:r>
                <a:br>
                  <a:rPr lang="en-US" sz="1400"/>
                </a:br>
                <a:r>
                  <a:rPr lang="en-US" sz="1400"/>
                  <a:t>new digital tools to </a:t>
                </a:r>
                <a:br>
                  <a:rPr lang="en-US" sz="1400"/>
                </a:br>
                <a:r>
                  <a:rPr lang="en-US" sz="1400"/>
                  <a:t>improve efficiency </a:t>
                </a:r>
                <a:br>
                  <a:rPr lang="en-US" sz="1400"/>
                </a:br>
                <a:endParaRPr lang="en-US" sz="1400"/>
              </a:p>
            </p:txBody>
          </p:sp>
          <p:sp>
            <p:nvSpPr>
              <p:cNvPr id="27" name="Text Placeholder 3">
                <a:extLst>
                  <a:ext uri="{FF2B5EF4-FFF2-40B4-BE49-F238E27FC236}">
                    <a16:creationId xmlns:a16="http://schemas.microsoft.com/office/drawing/2014/main" id="{78D75FA6-D2AA-E74B-BF53-81CD20C211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3435" y="5867868"/>
                <a:ext cx="2896851" cy="521763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US" sz="1600" b="1">
                    <a:solidFill>
                      <a:srgbClr val="73B53B"/>
                    </a:solidFill>
                    <a:latin typeface="Calibri" panose="020F0502020204030204"/>
                  </a:rPr>
                  <a:t>Innovation is our differentiator and a true competitive advantage</a:t>
                </a:r>
                <a:endParaRPr lang="en-US"/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82B4F0FD-C7C4-D949-883C-E0872DB86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18205" y="2899284"/>
                <a:ext cx="378566" cy="436806"/>
              </a:xfrm>
              <a:prstGeom prst="rect">
                <a:avLst/>
              </a:prstGeom>
            </p:spPr>
          </p:pic>
        </p:grpSp>
      </p:grpSp>
      <p:pic>
        <p:nvPicPr>
          <p:cNvPr id="122" name="Picture 121">
            <a:extLst>
              <a:ext uri="{FF2B5EF4-FFF2-40B4-BE49-F238E27FC236}">
                <a16:creationId xmlns:a16="http://schemas.microsoft.com/office/drawing/2014/main" id="{1CF7D37B-B5C8-AB4B-9F55-6F4BC44F34A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413" y="6418320"/>
            <a:ext cx="477296" cy="386080"/>
          </a:xfrm>
          <a:prstGeom prst="rect">
            <a:avLst/>
          </a:prstGeom>
        </p:spPr>
      </p:pic>
      <p:sp>
        <p:nvSpPr>
          <p:cNvPr id="123" name="Subtitle 2">
            <a:extLst>
              <a:ext uri="{FF2B5EF4-FFF2-40B4-BE49-F238E27FC236}">
                <a16:creationId xmlns:a16="http://schemas.microsoft.com/office/drawing/2014/main" id="{415C68A0-18D0-2146-8BEE-2FE07F18C7A3}"/>
              </a:ext>
            </a:extLst>
          </p:cNvPr>
          <p:cNvSpPr txBox="1">
            <a:spLocks/>
          </p:cNvSpPr>
          <p:nvPr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solidFill>
                  <a:schemeClr val="tx1"/>
                </a:solidFill>
                <a:latin typeface="Arial" panose="020B0604020202020204" pitchFamily="34" charset="0"/>
              </a:rPr>
              <a:pPr algn="l"/>
              <a:t>14</a:t>
            </a:fld>
            <a:endParaRPr lang="en-US" sz="900" b="0" i="0" baseline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B9BD89A-C101-B04F-A94A-DB34ED7E9A2D}"/>
              </a:ext>
            </a:extLst>
          </p:cNvPr>
          <p:cNvCxnSpPr>
            <a:cxnSpLocks/>
          </p:cNvCxnSpPr>
          <p:nvPr/>
        </p:nvCxnSpPr>
        <p:spPr>
          <a:xfrm>
            <a:off x="5093024" y="1400239"/>
            <a:ext cx="0" cy="501808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962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BA2FCC4-5916-864A-ACCC-71D596EEB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stainability at Axalta: Our 2030 Goal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3292F9-9458-6F42-A290-598600A86E19}"/>
              </a:ext>
            </a:extLst>
          </p:cNvPr>
          <p:cNvCxnSpPr>
            <a:cxnSpLocks/>
          </p:cNvCxnSpPr>
          <p:nvPr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5"/>
                </a:gs>
                <a:gs pos="99000">
                  <a:schemeClr val="accent6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D9F112-5845-B84E-80A9-C6E92DEBC9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368" y="1085088"/>
            <a:ext cx="2031152" cy="242253"/>
          </a:xfrm>
        </p:spPr>
        <p:txBody>
          <a:bodyPr/>
          <a:lstStyle/>
          <a:p>
            <a:r>
              <a:rPr lang="en-US" sz="1200"/>
              <a:t>ENVIRONMENTA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E36890B-5E4B-F14D-B3E7-1C3B34950B70}"/>
              </a:ext>
            </a:extLst>
          </p:cNvPr>
          <p:cNvSpPr txBox="1">
            <a:spLocks/>
          </p:cNvSpPr>
          <p:nvPr/>
        </p:nvSpPr>
        <p:spPr>
          <a:xfrm>
            <a:off x="478368" y="1595599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50%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5308FB1-E4CB-7345-B586-243EB4591073}"/>
              </a:ext>
            </a:extLst>
          </p:cNvPr>
          <p:cNvSpPr txBox="1">
            <a:spLocks/>
          </p:cNvSpPr>
          <p:nvPr/>
        </p:nvSpPr>
        <p:spPr>
          <a:xfrm>
            <a:off x="478367" y="1964395"/>
            <a:ext cx="1706032" cy="3453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absolute reduction of Scope 1 and 2 GHG emissions, sourcing </a:t>
            </a:r>
            <a:br>
              <a:rPr lang="en-US" sz="1100"/>
            </a:br>
            <a:r>
              <a:rPr lang="en-US" sz="1100"/>
              <a:t>at least 50% of electricity from renewable sources</a:t>
            </a:r>
          </a:p>
          <a:p>
            <a:pPr marL="0" indent="0">
              <a:buNone/>
            </a:pPr>
            <a:r>
              <a:rPr lang="en-US" sz="1100" b="1"/>
              <a:t>Carbon neutral </a:t>
            </a:r>
            <a:r>
              <a:rPr lang="en-US" sz="1100"/>
              <a:t>by 2040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F1CFF05B-2C3B-5841-A929-98107108EC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67" y="3070557"/>
            <a:ext cx="238758" cy="23875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B22DD37-1A35-0747-A122-76AA0D9F71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327" y="3070557"/>
            <a:ext cx="238758" cy="238758"/>
          </a:xfrm>
          <a:prstGeom prst="rect">
            <a:avLst/>
          </a:prstGeom>
        </p:spPr>
      </p:pic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4E36BDE-08CA-9E42-9CD9-4C066BA60558}"/>
              </a:ext>
            </a:extLst>
          </p:cNvPr>
          <p:cNvSpPr txBox="1">
            <a:spLocks/>
          </p:cNvSpPr>
          <p:nvPr/>
        </p:nvSpPr>
        <p:spPr>
          <a:xfrm>
            <a:off x="2373094" y="1595599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&gt;20%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A4D61C4-E4A4-8A46-9DB3-FEF775723532}"/>
              </a:ext>
            </a:extLst>
          </p:cNvPr>
          <p:cNvSpPr txBox="1">
            <a:spLocks/>
          </p:cNvSpPr>
          <p:nvPr/>
        </p:nvSpPr>
        <p:spPr>
          <a:xfrm>
            <a:off x="2373093" y="1964394"/>
            <a:ext cx="1706032" cy="13408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increase in the percentage of net sales from products, services, and tools that offer sustainability </a:t>
            </a:r>
            <a:br>
              <a:rPr lang="en-US" sz="1100"/>
            </a:br>
            <a:r>
              <a:rPr lang="en-US" sz="1100"/>
              <a:t>benefits to our customers/</a:t>
            </a:r>
            <a:br>
              <a:rPr lang="en-US" sz="1100"/>
            </a:br>
            <a:r>
              <a:rPr lang="en-US" sz="1100"/>
              <a:t>markets/communities</a:t>
            </a:r>
          </a:p>
        </p:txBody>
      </p:sp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AA7DCE8A-86E1-0045-BC60-570B8EAC8D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3093" y="2960701"/>
            <a:ext cx="238758" cy="23875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1645E7C-029B-A94A-A8A1-4EC3971253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8053" y="2960701"/>
            <a:ext cx="238758" cy="238758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8119D5D-0456-124D-8077-3E19BCEA22CB}"/>
              </a:ext>
            </a:extLst>
          </p:cNvPr>
          <p:cNvCxnSpPr>
            <a:cxnSpLocks/>
          </p:cNvCxnSpPr>
          <p:nvPr/>
        </p:nvCxnSpPr>
        <p:spPr>
          <a:xfrm>
            <a:off x="6526939" y="1085088"/>
            <a:ext cx="0" cy="24742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3F869E7F-3F1F-FB47-8E31-3F90D343F3E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2253" y="2960701"/>
            <a:ext cx="238758" cy="238758"/>
          </a:xfrm>
          <a:prstGeom prst="rect">
            <a:avLst/>
          </a:prstGeom>
        </p:spPr>
      </p:pic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CCF16F6-A03B-534E-B847-BA0190B7B1DD}"/>
              </a:ext>
            </a:extLst>
          </p:cNvPr>
          <p:cNvSpPr txBox="1">
            <a:spLocks/>
          </p:cNvSpPr>
          <p:nvPr/>
        </p:nvSpPr>
        <p:spPr>
          <a:xfrm>
            <a:off x="4245210" y="1592369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10%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99191DE5-8ED5-7448-BFBE-8B7EDB5AAAC3}"/>
              </a:ext>
            </a:extLst>
          </p:cNvPr>
          <p:cNvSpPr txBox="1">
            <a:spLocks/>
          </p:cNvSpPr>
          <p:nvPr/>
        </p:nvSpPr>
        <p:spPr>
          <a:xfrm>
            <a:off x="4245208" y="1961165"/>
            <a:ext cx="1879265" cy="3453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reduction of process </a:t>
            </a:r>
            <a:br>
              <a:rPr lang="en-US" sz="1100"/>
            </a:br>
            <a:r>
              <a:rPr lang="en-US" sz="1100"/>
              <a:t>waste, VOC emissions, and water use from operations </a:t>
            </a:r>
            <a:br>
              <a:rPr lang="en-US" sz="1100"/>
            </a:br>
            <a:r>
              <a:rPr lang="en-US" sz="1100"/>
              <a:t>(normalized to production)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9B129C1-5B82-B74C-AAFF-313410C91AF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5209" y="2678876"/>
            <a:ext cx="238758" cy="23875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6E051C1-B621-4F42-B1AB-6B86C0BEAC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0169" y="2678876"/>
            <a:ext cx="238758" cy="238758"/>
          </a:xfrm>
          <a:prstGeom prst="rect">
            <a:avLst/>
          </a:prstGeom>
        </p:spPr>
      </p:pic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25799EF2-B543-6949-846F-14B50451A28B}"/>
              </a:ext>
            </a:extLst>
          </p:cNvPr>
          <p:cNvSpPr txBox="1">
            <a:spLocks/>
          </p:cNvSpPr>
          <p:nvPr/>
        </p:nvSpPr>
        <p:spPr>
          <a:xfrm>
            <a:off x="7066647" y="1085088"/>
            <a:ext cx="2031152" cy="2422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GOVERNANCE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75BBE97-64ED-0445-8391-EB847B307DBF}"/>
              </a:ext>
            </a:extLst>
          </p:cNvPr>
          <p:cNvSpPr txBox="1">
            <a:spLocks/>
          </p:cNvSpPr>
          <p:nvPr/>
        </p:nvSpPr>
        <p:spPr>
          <a:xfrm>
            <a:off x="7066647" y="1595599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80%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A1C183BD-10CE-2E40-9C10-480A1B08681C}"/>
              </a:ext>
            </a:extLst>
          </p:cNvPr>
          <p:cNvSpPr txBox="1">
            <a:spLocks/>
          </p:cNvSpPr>
          <p:nvPr/>
        </p:nvSpPr>
        <p:spPr>
          <a:xfrm>
            <a:off x="7066646" y="1964395"/>
            <a:ext cx="1706032" cy="3453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of new technology </a:t>
            </a:r>
            <a:br>
              <a:rPr lang="en-US" sz="1100"/>
            </a:br>
            <a:r>
              <a:rPr lang="en-US" sz="1100"/>
              <a:t>and innovation </a:t>
            </a:r>
            <a:br>
              <a:rPr lang="en-US" sz="1100"/>
            </a:br>
            <a:r>
              <a:rPr lang="en-US" sz="1100"/>
              <a:t>developments will have </a:t>
            </a:r>
            <a:br>
              <a:rPr lang="en-US" sz="1100"/>
            </a:br>
            <a:r>
              <a:rPr lang="en-US" sz="1100"/>
              <a:t>a sustainability benefit</a:t>
            </a:r>
          </a:p>
        </p:txBody>
      </p:sp>
      <p:pic>
        <p:nvPicPr>
          <p:cNvPr id="75" name="Picture 74" descr="Icon&#10;&#10;Description automatically generated">
            <a:extLst>
              <a:ext uri="{FF2B5EF4-FFF2-40B4-BE49-F238E27FC236}">
                <a16:creationId xmlns:a16="http://schemas.microsoft.com/office/drawing/2014/main" id="{80D27AB0-10BE-EE46-AE47-E53CC459ED1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6646" y="2678876"/>
            <a:ext cx="238758" cy="238758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53E78040-DE74-054C-9C70-F5B7385FD21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1606" y="2678876"/>
            <a:ext cx="238758" cy="238758"/>
          </a:xfrm>
          <a:prstGeom prst="rect">
            <a:avLst/>
          </a:prstGeom>
        </p:spPr>
      </p:pic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2D75E2D6-DB96-754E-AEBB-A95A8883260D}"/>
              </a:ext>
            </a:extLst>
          </p:cNvPr>
          <p:cNvSpPr txBox="1">
            <a:spLocks/>
          </p:cNvSpPr>
          <p:nvPr/>
        </p:nvSpPr>
        <p:spPr>
          <a:xfrm>
            <a:off x="8942621" y="1595599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100%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2185E7B4-D4A4-8142-9F7E-F1606D41D5B0}"/>
              </a:ext>
            </a:extLst>
          </p:cNvPr>
          <p:cNvSpPr txBox="1">
            <a:spLocks/>
          </p:cNvSpPr>
          <p:nvPr/>
        </p:nvSpPr>
        <p:spPr>
          <a:xfrm>
            <a:off x="8942619" y="1964394"/>
            <a:ext cx="1762985" cy="13408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active global employees </a:t>
            </a:r>
            <a:br>
              <a:rPr lang="en-US" sz="1100"/>
            </a:br>
            <a:r>
              <a:rPr lang="en-US" sz="1100"/>
              <a:t>trained on Code of Business Conduct and Ethics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F24F7592-0132-7240-8D81-AB0E45EAF03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2620" y="2529017"/>
            <a:ext cx="238758" cy="238758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3280214F-4F6D-3E44-9373-0486FB8F85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2647" y="2678876"/>
            <a:ext cx="238758" cy="238758"/>
          </a:xfrm>
          <a:prstGeom prst="rect">
            <a:avLst/>
          </a:prstGeom>
        </p:spPr>
      </p:pic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8D544DC-1DDE-CB4D-8C2E-85509098F41B}"/>
              </a:ext>
            </a:extLst>
          </p:cNvPr>
          <p:cNvCxnSpPr>
            <a:cxnSpLocks/>
          </p:cNvCxnSpPr>
          <p:nvPr/>
        </p:nvCxnSpPr>
        <p:spPr>
          <a:xfrm>
            <a:off x="435423" y="3559347"/>
            <a:ext cx="11324186" cy="486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FCCE36D2-760E-6C47-A6B1-DE9C63D14FC0}"/>
              </a:ext>
            </a:extLst>
          </p:cNvPr>
          <p:cNvSpPr txBox="1">
            <a:spLocks/>
          </p:cNvSpPr>
          <p:nvPr/>
        </p:nvSpPr>
        <p:spPr>
          <a:xfrm>
            <a:off x="478368" y="3787947"/>
            <a:ext cx="2031152" cy="2422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SOCIAL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2F9B409D-11A2-BD46-B3BC-BD002C920B41}"/>
              </a:ext>
            </a:extLst>
          </p:cNvPr>
          <p:cNvSpPr txBox="1">
            <a:spLocks/>
          </p:cNvSpPr>
          <p:nvPr/>
        </p:nvSpPr>
        <p:spPr>
          <a:xfrm>
            <a:off x="478368" y="4298458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100%</a:t>
            </a:r>
          </a:p>
        </p:txBody>
      </p:sp>
      <p:sp>
        <p:nvSpPr>
          <p:cNvPr id="86" name="Text Placeholder 3">
            <a:extLst>
              <a:ext uri="{FF2B5EF4-FFF2-40B4-BE49-F238E27FC236}">
                <a16:creationId xmlns:a16="http://schemas.microsoft.com/office/drawing/2014/main" id="{501D8321-2F1D-1346-BEC9-5E7BBCF82256}"/>
              </a:ext>
            </a:extLst>
          </p:cNvPr>
          <p:cNvSpPr txBox="1">
            <a:spLocks/>
          </p:cNvSpPr>
          <p:nvPr/>
        </p:nvSpPr>
        <p:spPr>
          <a:xfrm>
            <a:off x="478367" y="4667254"/>
            <a:ext cx="1706032" cy="3453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of key suppliers assessed </a:t>
            </a:r>
            <a:br>
              <a:rPr lang="en-US" sz="1100"/>
            </a:br>
            <a:r>
              <a:rPr lang="en-US" sz="1100"/>
              <a:t>against a robust set of </a:t>
            </a:r>
            <a:br>
              <a:rPr lang="en-US" sz="1100"/>
            </a:br>
            <a:r>
              <a:rPr lang="en-US" sz="1100"/>
              <a:t>sustainability criteria, </a:t>
            </a:r>
            <a:br>
              <a:rPr lang="en-US" sz="1100"/>
            </a:br>
            <a:r>
              <a:rPr lang="en-US" sz="1100"/>
              <a:t>reflecting environmental, </a:t>
            </a:r>
            <a:br>
              <a:rPr lang="en-US" sz="1100"/>
            </a:br>
            <a:r>
              <a:rPr lang="en-US" sz="1100"/>
              <a:t>governance, and </a:t>
            </a:r>
            <a:br>
              <a:rPr lang="en-US" sz="1100"/>
            </a:br>
            <a:r>
              <a:rPr lang="en-US" sz="1100"/>
              <a:t>reputational risks, </a:t>
            </a:r>
            <a:br>
              <a:rPr lang="en-US" sz="1100"/>
            </a:br>
            <a:r>
              <a:rPr lang="en-US" sz="1100"/>
              <a:t>including human rights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340BABCB-067E-BC42-9FDA-098919C1F8C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367" y="5840053"/>
            <a:ext cx="238758" cy="23875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7A127A12-5D72-0041-9BF4-B8C91D6A7B4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327" y="5840053"/>
            <a:ext cx="238758" cy="238758"/>
          </a:xfrm>
          <a:prstGeom prst="rect">
            <a:avLst/>
          </a:prstGeom>
        </p:spPr>
      </p:pic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C11ED3A5-B2A2-BC49-8A2B-706AE26F4F06}"/>
              </a:ext>
            </a:extLst>
          </p:cNvPr>
          <p:cNvSpPr txBox="1">
            <a:spLocks/>
          </p:cNvSpPr>
          <p:nvPr/>
        </p:nvSpPr>
        <p:spPr>
          <a:xfrm>
            <a:off x="2373094" y="4298458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30%</a:t>
            </a: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D0593914-5770-9442-BD46-9251D43D407D}"/>
              </a:ext>
            </a:extLst>
          </p:cNvPr>
          <p:cNvSpPr txBox="1">
            <a:spLocks/>
          </p:cNvSpPr>
          <p:nvPr/>
        </p:nvSpPr>
        <p:spPr>
          <a:xfrm>
            <a:off x="2373092" y="4667253"/>
            <a:ext cx="2321669" cy="13408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of management positions to be filled by women </a:t>
            </a:r>
          </a:p>
          <a:p>
            <a:pPr marL="0" indent="0">
              <a:buNone/>
            </a:pPr>
            <a:r>
              <a:rPr lang="en-US" sz="1100" b="1"/>
              <a:t>30% </a:t>
            </a:r>
            <a:r>
              <a:rPr lang="en-US" sz="1100"/>
              <a:t>of management positions to be filled by under-represented racial /ethnic groups (in US &amp; Canada) </a:t>
            </a:r>
          </a:p>
          <a:p>
            <a:pPr marL="0" indent="0">
              <a:buNone/>
            </a:pPr>
            <a:r>
              <a:rPr lang="en-US" sz="1100"/>
              <a:t>Establish, track, and improve upon a favorable </a:t>
            </a:r>
            <a:r>
              <a:rPr lang="en-US" sz="1100" b="1"/>
              <a:t>Inclusion Index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2CB757E-EF14-6B41-B6C5-05A4A072A95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73093" y="6112618"/>
            <a:ext cx="238758" cy="238758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E8836CF1-7690-6243-BDBF-BABF8E07295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8053" y="6112618"/>
            <a:ext cx="238758" cy="238758"/>
          </a:xfrm>
          <a:prstGeom prst="rect">
            <a:avLst/>
          </a:prstGeom>
        </p:spPr>
      </p:pic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B20623B0-61BC-5B47-924D-6C87BE73B3F4}"/>
              </a:ext>
            </a:extLst>
          </p:cNvPr>
          <p:cNvSpPr txBox="1">
            <a:spLocks/>
          </p:cNvSpPr>
          <p:nvPr/>
        </p:nvSpPr>
        <p:spPr>
          <a:xfrm>
            <a:off x="5171447" y="4298458"/>
            <a:ext cx="2808286" cy="24744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>
                <a:solidFill>
                  <a:schemeClr val="tx1">
                    <a:lumMod val="65000"/>
                    <a:lumOff val="35000"/>
                  </a:schemeClr>
                </a:solidFill>
              </a:rPr>
              <a:t>$5M</a:t>
            </a: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61413D05-2C3E-D346-9D40-9093B8828A7B}"/>
              </a:ext>
            </a:extLst>
          </p:cNvPr>
          <p:cNvSpPr txBox="1">
            <a:spLocks/>
          </p:cNvSpPr>
          <p:nvPr/>
        </p:nvSpPr>
        <p:spPr>
          <a:xfrm>
            <a:off x="5171446" y="4667254"/>
            <a:ext cx="1706032" cy="3453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donated to our communities through Axalta’s Bright </a:t>
            </a:r>
            <a:br>
              <a:rPr lang="en-US" sz="1100"/>
            </a:br>
            <a:r>
              <a:rPr lang="en-US" sz="1100"/>
              <a:t>Futures Program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5DB8D843-DEE4-4B4D-B96C-F317600294D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1446" y="5399128"/>
            <a:ext cx="238758" cy="238758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A35C58D6-8BC5-0B4C-A719-7781CF0AE88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406" y="5399128"/>
            <a:ext cx="238758" cy="238758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4D0C5F91-624B-6A46-B9B5-769A8F1AB69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3001" y="5399128"/>
            <a:ext cx="238758" cy="238758"/>
          </a:xfrm>
          <a:prstGeom prst="rect">
            <a:avLst/>
          </a:prstGeom>
        </p:spPr>
      </p:pic>
      <p:sp>
        <p:nvSpPr>
          <p:cNvPr id="98" name="Text Placeholder 3">
            <a:extLst>
              <a:ext uri="{FF2B5EF4-FFF2-40B4-BE49-F238E27FC236}">
                <a16:creationId xmlns:a16="http://schemas.microsoft.com/office/drawing/2014/main" id="{B794622C-1A79-4442-9620-5275249BCF81}"/>
              </a:ext>
            </a:extLst>
          </p:cNvPr>
          <p:cNvSpPr txBox="1">
            <a:spLocks/>
          </p:cNvSpPr>
          <p:nvPr/>
        </p:nvSpPr>
        <p:spPr>
          <a:xfrm>
            <a:off x="7049833" y="4667254"/>
            <a:ext cx="1555845" cy="354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Global </a:t>
            </a:r>
            <a:r>
              <a:rPr lang="en-US" sz="1100" b="1"/>
              <a:t>top decile </a:t>
            </a:r>
            <a:br>
              <a:rPr lang="en-US" sz="1100"/>
            </a:br>
            <a:r>
              <a:rPr lang="en-US" sz="1100"/>
              <a:t>recordable injury </a:t>
            </a:r>
            <a:br>
              <a:rPr lang="en-US" sz="1100"/>
            </a:br>
            <a:r>
              <a:rPr lang="en-US" sz="1100"/>
              <a:t>rates annually while continually striving towards zero injuries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AC77A0C3-9F4C-6348-AE43-72CB70D295A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9833" y="5589387"/>
            <a:ext cx="238758" cy="238758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A3262F5F-E927-B24C-A325-48BA3B36147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64793" y="5589387"/>
            <a:ext cx="238758" cy="238758"/>
          </a:xfrm>
          <a:prstGeom prst="rect">
            <a:avLst/>
          </a:prstGeom>
        </p:spPr>
      </p:pic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9E9AAD5B-834D-A04F-98CF-A63E81DD8A71}"/>
              </a:ext>
            </a:extLst>
          </p:cNvPr>
          <p:cNvSpPr txBox="1">
            <a:spLocks/>
          </p:cNvSpPr>
          <p:nvPr/>
        </p:nvSpPr>
        <p:spPr>
          <a:xfrm>
            <a:off x="8942559" y="4667254"/>
            <a:ext cx="2094935" cy="3543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/>
              <a:t>Conduct </a:t>
            </a:r>
            <a:r>
              <a:rPr lang="en-US" sz="1100" b="1"/>
              <a:t>employee engagement survey </a:t>
            </a:r>
            <a:r>
              <a:rPr lang="en-US" sz="1100"/>
              <a:t>annually, and achieve participation rates and employee confidence in company </a:t>
            </a:r>
            <a:br>
              <a:rPr lang="en-US" sz="1100"/>
            </a:br>
            <a:r>
              <a:rPr lang="en-US" sz="1100"/>
              <a:t>follow-up actions greater than </a:t>
            </a:r>
            <a:br>
              <a:rPr lang="en-US" sz="1100"/>
            </a:br>
            <a:r>
              <a:rPr lang="en-US" sz="1100"/>
              <a:t>the provider benchmark</a:t>
            </a: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29E2D64C-DFD9-164C-B210-29F847A6934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2559" y="5708766"/>
            <a:ext cx="238758" cy="238758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34F3E1B0-1053-6049-A6FC-F23BB6FC3A6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1368" y="1514057"/>
            <a:ext cx="381561" cy="316150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9A6FB71E-572D-CF4F-9ED4-F4D04CCAF66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1627" y="1492845"/>
            <a:ext cx="418991" cy="317551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B90B04C0-3BF6-F348-A916-F8B44B18FA2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8498" y="1492845"/>
            <a:ext cx="325067" cy="317551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59CB78A9-7448-0B44-8540-20233B48057F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6738" y="1508908"/>
            <a:ext cx="325067" cy="285424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60808698-8B1A-404A-8C07-BEB8A5649686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0923" y="4253096"/>
            <a:ext cx="381561" cy="286170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F7CB9525-2075-FB4C-8A49-8B5AC1C7482B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1419" y="4219516"/>
            <a:ext cx="281422" cy="317551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3BCA8FE3-A6D7-A54B-92F2-F723D9A1CDE1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0091" y="4271977"/>
            <a:ext cx="353766" cy="267289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107B528A-49FD-8A43-A32A-A582BC678349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0994" y="4177109"/>
            <a:ext cx="345113" cy="362157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20754C51-CB7F-5A42-B206-46014D93050D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6955" y="1471930"/>
            <a:ext cx="364865" cy="400404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A7DA8563-7A0D-F749-8CF9-CB2F29632AE6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7474" y="4210430"/>
            <a:ext cx="345113" cy="29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72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F1598-C291-5743-A714-45A6EC94F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4272" y="1947480"/>
            <a:ext cx="9387078" cy="715626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1383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5" descr="A picture containing table, person, indoor, sitting&#10;&#10;Description automatically generated">
            <a:extLst>
              <a:ext uri="{FF2B5EF4-FFF2-40B4-BE49-F238E27FC236}">
                <a16:creationId xmlns:a16="http://schemas.microsoft.com/office/drawing/2014/main" id="{9B5B3FB2-9361-AE4B-A992-D81C31AF24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3173" y="2003501"/>
            <a:ext cx="3278886" cy="17068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9E2ED9-5459-A747-8FEB-746159812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xalta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C886AE-FA4A-0841-B244-26196A098F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173" y="4598365"/>
            <a:ext cx="3276769" cy="221488"/>
          </a:xfrm>
        </p:spPr>
        <p:txBody>
          <a:bodyPr/>
          <a:lstStyle/>
          <a:p>
            <a:r>
              <a:rPr lang="en-US" sz="1400"/>
              <a:t>WHO WE A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D5000D-6F6B-BE40-B25F-64882868FD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2173" y="3972509"/>
            <a:ext cx="3264577" cy="31089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32B744-563B-2942-8786-625B918E9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67225" y="4598365"/>
            <a:ext cx="3276769" cy="221488"/>
          </a:xfrm>
        </p:spPr>
        <p:txBody>
          <a:bodyPr/>
          <a:lstStyle/>
          <a:p>
            <a:r>
              <a:rPr lang="en-US" sz="1400"/>
              <a:t>BUSINESSES WE SERV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BB4400-8FEE-B341-8E1A-C0B16227A3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67225" y="3972509"/>
            <a:ext cx="3264577" cy="31089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0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428A94-28B6-F444-AAF2-A811CC473D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77273" y="4598365"/>
            <a:ext cx="3276769" cy="221488"/>
          </a:xfrm>
        </p:spPr>
        <p:txBody>
          <a:bodyPr/>
          <a:lstStyle/>
          <a:p>
            <a:r>
              <a:rPr lang="en-US" sz="1400"/>
              <a:t>OUR GLOBAL INITIATIV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220AA7-C100-2147-8B1A-21F84064F0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77273" y="3972509"/>
            <a:ext cx="3264577" cy="31089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03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5214C1D-469C-5F4C-ADF8-B6668D3ABDA8}"/>
              </a:ext>
            </a:extLst>
          </p:cNvPr>
          <p:cNvCxnSpPr>
            <a:cxnSpLocks/>
          </p:cNvCxnSpPr>
          <p:nvPr/>
        </p:nvCxnSpPr>
        <p:spPr>
          <a:xfrm>
            <a:off x="472173" y="4440885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677A52-626A-764F-8D25-CE3EBF65B797}"/>
              </a:ext>
            </a:extLst>
          </p:cNvPr>
          <p:cNvCxnSpPr>
            <a:cxnSpLocks/>
          </p:cNvCxnSpPr>
          <p:nvPr/>
        </p:nvCxnSpPr>
        <p:spPr>
          <a:xfrm>
            <a:off x="4467225" y="4440885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36668FC-EBC5-E840-B7DB-9ABEA50149AD}"/>
              </a:ext>
            </a:extLst>
          </p:cNvPr>
          <p:cNvCxnSpPr>
            <a:cxnSpLocks/>
          </p:cNvCxnSpPr>
          <p:nvPr/>
        </p:nvCxnSpPr>
        <p:spPr>
          <a:xfrm>
            <a:off x="8477273" y="4440885"/>
            <a:ext cx="46298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CBF61F7C-7CFE-5244-B994-79A212EC1F0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173" y="2003501"/>
            <a:ext cx="3278886" cy="1706880"/>
          </a:xfr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B950D48-09D4-2F4B-9878-316249D7F58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7225" y="2003501"/>
            <a:ext cx="3278886" cy="1706880"/>
          </a:xfrm>
        </p:spPr>
      </p:pic>
    </p:spTree>
    <p:extLst>
      <p:ext uri="{BB962C8B-B14F-4D97-AF65-F5344CB8AC3E}">
        <p14:creationId xmlns:p14="http://schemas.microsoft.com/office/powerpoint/2010/main" val="1469236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5C14F-2216-8743-BF54-D7B4593F0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3071187"/>
            <a:ext cx="10338367" cy="715626"/>
          </a:xfrm>
        </p:spPr>
        <p:txBody>
          <a:bodyPr/>
          <a:lstStyle/>
          <a:p>
            <a:r>
              <a:rPr lang="en-US"/>
              <a:t>Who We A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12B95AE-6B7B-A24A-BDED-15AF10D6A76F}"/>
              </a:ext>
            </a:extLst>
          </p:cNvPr>
          <p:cNvCxnSpPr>
            <a:cxnSpLocks/>
          </p:cNvCxnSpPr>
          <p:nvPr/>
        </p:nvCxnSpPr>
        <p:spPr>
          <a:xfrm>
            <a:off x="1085921" y="2857500"/>
            <a:ext cx="0" cy="1143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5501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6660E62-4F67-614E-A577-90FB36D1C359}"/>
              </a:ext>
            </a:extLst>
          </p:cNvPr>
          <p:cNvCxnSpPr>
            <a:cxnSpLocks/>
          </p:cNvCxnSpPr>
          <p:nvPr/>
        </p:nvCxnSpPr>
        <p:spPr>
          <a:xfrm>
            <a:off x="-36823" y="0"/>
            <a:ext cx="0" cy="6858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7778099-6A94-FC4D-AE01-BA921378B3C3}"/>
              </a:ext>
            </a:extLst>
          </p:cNvPr>
          <p:cNvCxnSpPr>
            <a:cxnSpLocks/>
          </p:cNvCxnSpPr>
          <p:nvPr/>
        </p:nvCxnSpPr>
        <p:spPr>
          <a:xfrm>
            <a:off x="70782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E59BCB5-20F1-E548-A88F-0D5E43E08F8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07269" y="320841"/>
            <a:ext cx="12520117" cy="704256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14CEDAB0-3BA2-894D-93CA-4FFF4EFCC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11281242" cy="634235"/>
          </a:xfrm>
        </p:spPr>
        <p:txBody>
          <a:bodyPr/>
          <a:lstStyle/>
          <a:p>
            <a:r>
              <a:rPr lang="en-US"/>
              <a:t>Axalta at a Glance</a:t>
            </a:r>
          </a:p>
        </p:txBody>
      </p:sp>
    </p:spTree>
    <p:extLst>
      <p:ext uri="{BB962C8B-B14F-4D97-AF65-F5344CB8AC3E}">
        <p14:creationId xmlns:p14="http://schemas.microsoft.com/office/powerpoint/2010/main" val="2063250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50262B9F-E294-D74B-AD6A-EA26582A642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41"/>
          <a:stretch/>
        </p:blipFill>
        <p:spPr>
          <a:xfrm>
            <a:off x="3641630" y="582999"/>
            <a:ext cx="8550369" cy="559913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A3AE3B5-3714-9446-9986-5B8394239F30}"/>
              </a:ext>
            </a:extLst>
          </p:cNvPr>
          <p:cNvSpPr/>
          <p:nvPr/>
        </p:nvSpPr>
        <p:spPr>
          <a:xfrm>
            <a:off x="3641630" y="215153"/>
            <a:ext cx="1501904" cy="5298141"/>
          </a:xfrm>
          <a:prstGeom prst="rect">
            <a:avLst/>
          </a:prstGeom>
          <a:gradFill>
            <a:gsLst>
              <a:gs pos="2600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BAADCA-3A05-EA4A-81CF-1546183E4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Global Reach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F91A0EC-3657-154D-B5E2-B044518820F8}"/>
              </a:ext>
            </a:extLst>
          </p:cNvPr>
          <p:cNvSpPr txBox="1">
            <a:spLocks/>
          </p:cNvSpPr>
          <p:nvPr/>
        </p:nvSpPr>
        <p:spPr>
          <a:xfrm>
            <a:off x="478367" y="1026698"/>
            <a:ext cx="4389468" cy="294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</a:pPr>
            <a:r>
              <a:rPr lang="en-US" sz="1400"/>
              <a:t>MANUFACTURING FACILITI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17DE7B5-B995-2B4A-8C3C-386DBE40B8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6" y="1345051"/>
            <a:ext cx="1438835" cy="210881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NORTH AMERICA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Canad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Ajax</a:t>
            </a:r>
            <a:endParaRPr lang="en-US" sz="800">
              <a:cs typeface="Arial" panose="020B0604020202020204" pitchFamily="34" charset="0"/>
            </a:endParaRP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Cornwall</a:t>
            </a:r>
            <a:endParaRPr lang="en-US" sz="80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US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Fridley, MN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Front Royal, V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Ft. Madison, I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High Point, NC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Hilliard, OH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Houston, TX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Jacksonville, TX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Madison, AL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Mt. Clemens, MI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Orrville, OH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>
                <a:latin typeface="Arial"/>
                <a:cs typeface="Arial"/>
              </a:rPr>
              <a:t>Riverside, C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Sacramento, CA</a:t>
            </a:r>
            <a:endParaRPr lang="en-US" sz="800">
              <a:cs typeface="Arial" panose="020B0604020202020204" pitchFamily="34" charset="0"/>
            </a:endParaRP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endParaRPr lang="en-US" sz="80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LATIN AMERICA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Brazil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Guarulhos</a:t>
            </a:r>
            <a:endParaRPr lang="en-US" sz="80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Guatemala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Amatitlan</a:t>
            </a:r>
            <a:endParaRPr lang="en-US" sz="80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Mexico</a:t>
            </a: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Apodaca</a:t>
            </a:r>
            <a:endParaRPr lang="en-US" sz="800">
              <a:cs typeface="Arial" panose="020B0604020202020204" pitchFamily="34" charset="0"/>
            </a:endParaRP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Ocoyoacac</a:t>
            </a:r>
            <a:endParaRPr lang="en-US" sz="800">
              <a:cs typeface="Arial" panose="020B0604020202020204" pitchFamily="34" charset="0"/>
            </a:endParaRP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Tlalnepantla</a:t>
            </a:r>
            <a:endParaRPr lang="en-US" sz="800">
              <a:cs typeface="Arial" panose="020B0604020202020204" pitchFamily="34" charset="0"/>
            </a:endParaRPr>
          </a:p>
          <a:p>
            <a:pPr marL="118745" indent="-118745">
              <a:lnSpc>
                <a:spcPct val="100000"/>
              </a:lnSpc>
              <a:spcBef>
                <a:spcPts val="500"/>
              </a:spcBef>
            </a:pPr>
            <a:endParaRPr lang="en-US" sz="800"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endParaRPr lang="en-US" sz="8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02A07B2-9605-3A45-B2D1-A2F7F95889C3}"/>
              </a:ext>
            </a:extLst>
          </p:cNvPr>
          <p:cNvSpPr txBox="1">
            <a:spLocks/>
          </p:cNvSpPr>
          <p:nvPr/>
        </p:nvSpPr>
        <p:spPr>
          <a:xfrm>
            <a:off x="1960065" y="1345051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EMEA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Austri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Guntramsdorf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France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Montbrison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Germany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Landshut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Wuppertal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Netherlands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Zuidland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Sweden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Västervik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Switzerland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Bulle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Turkey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Gebze</a:t>
            </a:r>
            <a:endParaRPr lang="en-US" sz="800"/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Çerkezköy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UK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Tewkesbury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Darlington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Farnham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Huthwaite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Wellingborough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United Arab Emirates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Ras Al Khaimah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86E02B7-0623-5D4E-830A-304376C9CAD2}"/>
              </a:ext>
            </a:extLst>
          </p:cNvPr>
          <p:cNvSpPr txBox="1">
            <a:spLocks/>
          </p:cNvSpPr>
          <p:nvPr/>
        </p:nvSpPr>
        <p:spPr>
          <a:xfrm>
            <a:off x="3408795" y="1345051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ASIA PACIFIC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Chin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Changchun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Jiading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Qingpu</a:t>
            </a:r>
            <a:endParaRPr lang="en-US" sz="800"/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Ma’Anshan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Indi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Savli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Malaysi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Shah </a:t>
            </a:r>
            <a:r>
              <a:rPr lang="en-US" sz="800" err="1"/>
              <a:t>Alam</a:t>
            </a:r>
            <a:r>
              <a:rPr lang="en-US" sz="800"/>
              <a:t> (2)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Thailand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Bangplee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JOINT VENTURE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Columbi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Cartagena de </a:t>
            </a:r>
            <a:r>
              <a:rPr lang="en-US" sz="800" err="1"/>
              <a:t>Indias</a:t>
            </a: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Indonesia</a:t>
            </a:r>
            <a:endParaRPr lang="en-US" sz="800"/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 err="1"/>
              <a:t>Cikarang</a:t>
            </a:r>
            <a:endParaRPr lang="en-US" sz="800"/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rgbClr val="914161"/>
                </a:solidFill>
                <a:latin typeface="Calibri" panose="020F0502020204030204"/>
              </a:rPr>
              <a:t>Taiwan</a:t>
            </a:r>
            <a:endParaRPr lang="en-US" sz="800"/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Taipei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endParaRPr lang="en-US" sz="800"/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/>
              <a:t>JOINT VENTURE PARTNER 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South Afric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Port Elizabeth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US" sz="800" b="1">
                <a:solidFill>
                  <a:schemeClr val="accent2"/>
                </a:solidFill>
              </a:rPr>
              <a:t>Russia</a:t>
            </a:r>
          </a:p>
          <a:p>
            <a:pPr marL="119063" indent="-119063">
              <a:lnSpc>
                <a:spcPct val="100000"/>
              </a:lnSpc>
              <a:spcBef>
                <a:spcPts val="500"/>
              </a:spcBef>
            </a:pPr>
            <a:r>
              <a:rPr lang="en-US" sz="800"/>
              <a:t>Moscow</a:t>
            </a:r>
          </a:p>
        </p:txBody>
      </p:sp>
    </p:spTree>
    <p:extLst>
      <p:ext uri="{BB962C8B-B14F-4D97-AF65-F5344CB8AC3E}">
        <p14:creationId xmlns:p14="http://schemas.microsoft.com/office/powerpoint/2010/main" val="324752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AADCA-3A05-EA4A-81CF-1546183E4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450853"/>
            <a:ext cx="8473128" cy="634235"/>
          </a:xfrm>
        </p:spPr>
        <p:txBody>
          <a:bodyPr/>
          <a:lstStyle/>
          <a:p>
            <a:r>
              <a:rPr lang="en-US"/>
              <a:t>World-Class Technology Infrastructure and Expertise</a:t>
            </a:r>
          </a:p>
        </p:txBody>
      </p:sp>
      <p:pic>
        <p:nvPicPr>
          <p:cNvPr id="6" name="Picture 5" descr="A picture containing nature&#10;&#10;Description automatically generated">
            <a:extLst>
              <a:ext uri="{FF2B5EF4-FFF2-40B4-BE49-F238E27FC236}">
                <a16:creationId xmlns:a16="http://schemas.microsoft.com/office/drawing/2014/main" id="{D323814B-F941-CA49-9C85-6E6D52F93DB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848" y="1555057"/>
            <a:ext cx="8959386" cy="483864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9A32927-4661-B741-8514-62B0A85146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49446" y="4830246"/>
            <a:ext cx="2096994" cy="131619"/>
          </a:xfrm>
        </p:spPr>
        <p:txBody>
          <a:bodyPr/>
          <a:lstStyle/>
          <a:p>
            <a:pPr marL="0" indent="0">
              <a:buNone/>
            </a:pPr>
            <a:r>
              <a:rPr lang="en-US" sz="1200"/>
              <a:t>Global Innovation Center</a:t>
            </a:r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972B8F85-144A-6542-8E6A-F371806A0F46}"/>
              </a:ext>
            </a:extLst>
          </p:cNvPr>
          <p:cNvSpPr/>
          <p:nvPr/>
        </p:nvSpPr>
        <p:spPr>
          <a:xfrm>
            <a:off x="859782" y="4796150"/>
            <a:ext cx="150207" cy="150207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EF088AF-F4B0-8446-BA65-B0DDF1FB4D26}"/>
              </a:ext>
            </a:extLst>
          </p:cNvPr>
          <p:cNvSpPr txBox="1">
            <a:spLocks/>
          </p:cNvSpPr>
          <p:nvPr/>
        </p:nvSpPr>
        <p:spPr>
          <a:xfrm>
            <a:off x="1049445" y="5084246"/>
            <a:ext cx="2339357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/>
              <a:t>Regional Technology Cen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C04086-EC4E-3D45-B6A6-6C9B3B6D8AEC}"/>
              </a:ext>
            </a:extLst>
          </p:cNvPr>
          <p:cNvSpPr/>
          <p:nvPr/>
        </p:nvSpPr>
        <p:spPr>
          <a:xfrm>
            <a:off x="874203" y="5084246"/>
            <a:ext cx="116111" cy="11611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B36BECD-C9B3-A945-A541-8065477C94DC}"/>
              </a:ext>
            </a:extLst>
          </p:cNvPr>
          <p:cNvSpPr txBox="1">
            <a:spLocks/>
          </p:cNvSpPr>
          <p:nvPr/>
        </p:nvSpPr>
        <p:spPr>
          <a:xfrm>
            <a:off x="1049445" y="5348406"/>
            <a:ext cx="2339357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cal Laboratory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176A686-BCD0-DF4D-8E5B-AD97AE421A6B}"/>
              </a:ext>
            </a:extLst>
          </p:cNvPr>
          <p:cNvSpPr/>
          <p:nvPr/>
        </p:nvSpPr>
        <p:spPr>
          <a:xfrm>
            <a:off x="874203" y="5348406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3B29920-0025-5445-86D5-C24C18A18607}"/>
              </a:ext>
            </a:extLst>
          </p:cNvPr>
          <p:cNvSpPr/>
          <p:nvPr/>
        </p:nvSpPr>
        <p:spPr>
          <a:xfrm>
            <a:off x="4037829" y="3407394"/>
            <a:ext cx="116111" cy="11611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C2B895E4-C6C4-2346-8871-A5A5616B2F51}"/>
              </a:ext>
            </a:extLst>
          </p:cNvPr>
          <p:cNvSpPr txBox="1">
            <a:spLocks/>
          </p:cNvSpPr>
          <p:nvPr/>
        </p:nvSpPr>
        <p:spPr>
          <a:xfrm>
            <a:off x="4418722" y="3598040"/>
            <a:ext cx="1438835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200">
                <a:solidFill>
                  <a:schemeClr val="accent1"/>
                </a:solidFill>
              </a:rPr>
              <a:t>Philadelphia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7162CCBE-9528-0740-A2C1-8202B046C3C7}"/>
              </a:ext>
            </a:extLst>
          </p:cNvPr>
          <p:cNvSpPr txBox="1">
            <a:spLocks/>
          </p:cNvSpPr>
          <p:nvPr/>
        </p:nvSpPr>
        <p:spPr>
          <a:xfrm>
            <a:off x="2569231" y="3437570"/>
            <a:ext cx="1438835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>
                <a:solidFill>
                  <a:schemeClr val="accent2"/>
                </a:solidFill>
              </a:rPr>
              <a:t>Mount Clemen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035E17FD-4E94-184A-B89A-A297835BCEF5}"/>
              </a:ext>
            </a:extLst>
          </p:cNvPr>
          <p:cNvSpPr txBox="1">
            <a:spLocks/>
          </p:cNvSpPr>
          <p:nvPr/>
        </p:nvSpPr>
        <p:spPr>
          <a:xfrm>
            <a:off x="9338076" y="3759833"/>
            <a:ext cx="1438835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>
                <a:solidFill>
                  <a:schemeClr val="accent2"/>
                </a:solidFill>
              </a:rPr>
              <a:t>Shanghai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3EE9F7F-00A2-0C4B-9E5D-239FB86154BE}"/>
              </a:ext>
            </a:extLst>
          </p:cNvPr>
          <p:cNvSpPr/>
          <p:nvPr/>
        </p:nvSpPr>
        <p:spPr>
          <a:xfrm>
            <a:off x="4202851" y="3305394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C618F48-C212-F446-8050-1C2594F633FB}"/>
              </a:ext>
            </a:extLst>
          </p:cNvPr>
          <p:cNvSpPr/>
          <p:nvPr/>
        </p:nvSpPr>
        <p:spPr>
          <a:xfrm>
            <a:off x="3837091" y="3360258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1DC0C056-77A5-2442-B2DD-81756A3D32D6}"/>
              </a:ext>
            </a:extLst>
          </p:cNvPr>
          <p:cNvSpPr/>
          <p:nvPr/>
        </p:nvSpPr>
        <p:spPr>
          <a:xfrm>
            <a:off x="4171616" y="3619899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BE036C8-27D1-AC49-96C9-B04868C90061}"/>
              </a:ext>
            </a:extLst>
          </p:cNvPr>
          <p:cNvSpPr/>
          <p:nvPr/>
        </p:nvSpPr>
        <p:spPr>
          <a:xfrm>
            <a:off x="3891955" y="3652866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4645082-C100-5245-A3EE-8E58AA4D15EE}"/>
              </a:ext>
            </a:extLst>
          </p:cNvPr>
          <p:cNvSpPr/>
          <p:nvPr/>
        </p:nvSpPr>
        <p:spPr>
          <a:xfrm>
            <a:off x="3745651" y="3753450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C463B5A-8A10-5F4E-8418-905E987B9CF2}"/>
              </a:ext>
            </a:extLst>
          </p:cNvPr>
          <p:cNvSpPr/>
          <p:nvPr/>
        </p:nvSpPr>
        <p:spPr>
          <a:xfrm>
            <a:off x="3687913" y="3891971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6E518CB-5DF5-F242-94CA-E7437572C6B8}"/>
              </a:ext>
            </a:extLst>
          </p:cNvPr>
          <p:cNvSpPr/>
          <p:nvPr/>
        </p:nvSpPr>
        <p:spPr>
          <a:xfrm>
            <a:off x="3709075" y="4036914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5228BCA-71BB-B24E-AC26-386DF27600AC}"/>
              </a:ext>
            </a:extLst>
          </p:cNvPr>
          <p:cNvSpPr/>
          <p:nvPr/>
        </p:nvSpPr>
        <p:spPr>
          <a:xfrm>
            <a:off x="5007408" y="5204220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E84E5636-331C-444B-96F4-C316A30D9AA4}"/>
              </a:ext>
            </a:extLst>
          </p:cNvPr>
          <p:cNvSpPr/>
          <p:nvPr/>
        </p:nvSpPr>
        <p:spPr>
          <a:xfrm>
            <a:off x="6148092" y="2913012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21CF49D7-BF90-8F4C-994D-10B0AF8DED8C}"/>
              </a:ext>
            </a:extLst>
          </p:cNvPr>
          <p:cNvSpPr/>
          <p:nvPr/>
        </p:nvSpPr>
        <p:spPr>
          <a:xfrm>
            <a:off x="6090219" y="3017185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86D32199-ABAF-1940-B440-304AAD6083A1}"/>
              </a:ext>
            </a:extLst>
          </p:cNvPr>
          <p:cNvSpPr/>
          <p:nvPr/>
        </p:nvSpPr>
        <p:spPr>
          <a:xfrm>
            <a:off x="6177211" y="2978164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A265011-8279-DA4E-AEE8-A9E32AA4C2FE}"/>
              </a:ext>
            </a:extLst>
          </p:cNvPr>
          <p:cNvSpPr/>
          <p:nvPr/>
        </p:nvSpPr>
        <p:spPr>
          <a:xfrm>
            <a:off x="6645804" y="316765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74E42A5F-0527-EE4B-BA9D-32F2E74A5F5B}"/>
              </a:ext>
            </a:extLst>
          </p:cNvPr>
          <p:cNvSpPr/>
          <p:nvPr/>
        </p:nvSpPr>
        <p:spPr>
          <a:xfrm>
            <a:off x="6334854" y="3237891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2E173487-D6D0-A447-A101-B49C55944B1B}"/>
              </a:ext>
            </a:extLst>
          </p:cNvPr>
          <p:cNvSpPr/>
          <p:nvPr/>
        </p:nvSpPr>
        <p:spPr>
          <a:xfrm>
            <a:off x="8081065" y="405890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13482CD8-7048-1B41-AE60-73444BFBCB6D}"/>
              </a:ext>
            </a:extLst>
          </p:cNvPr>
          <p:cNvSpPr/>
          <p:nvPr/>
        </p:nvSpPr>
        <p:spPr>
          <a:xfrm>
            <a:off x="9608923" y="366536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D1972D9-323F-A540-B79E-17994DE29B3A}"/>
              </a:ext>
            </a:extLst>
          </p:cNvPr>
          <p:cNvSpPr/>
          <p:nvPr/>
        </p:nvSpPr>
        <p:spPr>
          <a:xfrm>
            <a:off x="9354280" y="3190805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A737986E-CC95-3D46-8252-FCC3FA40D751}"/>
              </a:ext>
            </a:extLst>
          </p:cNvPr>
          <p:cNvSpPr/>
          <p:nvPr/>
        </p:nvSpPr>
        <p:spPr>
          <a:xfrm>
            <a:off x="9160983" y="3850380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E28C0F6-3425-B345-AC5B-26E917D37E83}"/>
              </a:ext>
            </a:extLst>
          </p:cNvPr>
          <p:cNvSpPr/>
          <p:nvPr/>
        </p:nvSpPr>
        <p:spPr>
          <a:xfrm>
            <a:off x="8988677" y="4604048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riangle 27">
            <a:extLst>
              <a:ext uri="{FF2B5EF4-FFF2-40B4-BE49-F238E27FC236}">
                <a16:creationId xmlns:a16="http://schemas.microsoft.com/office/drawing/2014/main" id="{B3CB6EA3-18BB-5D4D-AD17-DF19A8E967B1}"/>
              </a:ext>
            </a:extLst>
          </p:cNvPr>
          <p:cNvSpPr/>
          <p:nvPr/>
        </p:nvSpPr>
        <p:spPr>
          <a:xfrm>
            <a:off x="4217483" y="3540795"/>
            <a:ext cx="150207" cy="150207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75DE8B6-D5C1-C543-B872-48FD0B0C8251}"/>
              </a:ext>
            </a:extLst>
          </p:cNvPr>
          <p:cNvSpPr/>
          <p:nvPr/>
        </p:nvSpPr>
        <p:spPr>
          <a:xfrm>
            <a:off x="4137537" y="3664072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D2E8C5B4-3056-0A4A-9975-6B6B1AD7967B}"/>
              </a:ext>
            </a:extLst>
          </p:cNvPr>
          <p:cNvSpPr/>
          <p:nvPr/>
        </p:nvSpPr>
        <p:spPr>
          <a:xfrm>
            <a:off x="6644088" y="282167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351E496E-2E02-1D4C-B1CF-C794BA26201C}"/>
              </a:ext>
            </a:extLst>
          </p:cNvPr>
          <p:cNvSpPr txBox="1">
            <a:spLocks/>
          </p:cNvSpPr>
          <p:nvPr/>
        </p:nvSpPr>
        <p:spPr>
          <a:xfrm>
            <a:off x="6512051" y="2937470"/>
            <a:ext cx="1438835" cy="1316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>
                <a:solidFill>
                  <a:schemeClr val="accent2"/>
                </a:solidFill>
              </a:rPr>
              <a:t>Wupperta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AB2FB20-4AFF-4246-B8DC-C19140F8F536}"/>
              </a:ext>
            </a:extLst>
          </p:cNvPr>
          <p:cNvSpPr/>
          <p:nvPr/>
        </p:nvSpPr>
        <p:spPr>
          <a:xfrm>
            <a:off x="6401404" y="3098839"/>
            <a:ext cx="116111" cy="11611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395C6CB5-9571-5440-8564-353157517104}"/>
              </a:ext>
            </a:extLst>
          </p:cNvPr>
          <p:cNvSpPr/>
          <p:nvPr/>
        </p:nvSpPr>
        <p:spPr>
          <a:xfrm>
            <a:off x="6055291" y="2937524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0225343-B6B6-7E41-A794-7B1948E6974A}"/>
              </a:ext>
            </a:extLst>
          </p:cNvPr>
          <p:cNvSpPr/>
          <p:nvPr/>
        </p:nvSpPr>
        <p:spPr>
          <a:xfrm>
            <a:off x="3230713" y="3597331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9540AB3-CC11-094C-AF5D-4A9A00AA1865}"/>
              </a:ext>
            </a:extLst>
          </p:cNvPr>
          <p:cNvSpPr/>
          <p:nvPr/>
        </p:nvSpPr>
        <p:spPr>
          <a:xfrm>
            <a:off x="6953305" y="345946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B91C665-E00E-C44F-84EE-CC125E353B21}"/>
              </a:ext>
            </a:extLst>
          </p:cNvPr>
          <p:cNvSpPr/>
          <p:nvPr/>
        </p:nvSpPr>
        <p:spPr>
          <a:xfrm>
            <a:off x="6856885" y="3387268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5E1F51B-C37B-3C45-BFC8-0D96455D696F}"/>
              </a:ext>
            </a:extLst>
          </p:cNvPr>
          <p:cNvSpPr/>
          <p:nvPr/>
        </p:nvSpPr>
        <p:spPr>
          <a:xfrm>
            <a:off x="6513724" y="311685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BCF8583D-6FAB-0E46-86E7-B254933223E6}"/>
              </a:ext>
            </a:extLst>
          </p:cNvPr>
          <p:cNvSpPr/>
          <p:nvPr/>
        </p:nvSpPr>
        <p:spPr>
          <a:xfrm>
            <a:off x="8710985" y="4444987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5F6443F-240E-C345-B506-E86D3546810A}"/>
              </a:ext>
            </a:extLst>
          </p:cNvPr>
          <p:cNvSpPr/>
          <p:nvPr/>
        </p:nvSpPr>
        <p:spPr>
          <a:xfrm>
            <a:off x="9201880" y="3708965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B4A1ED4-F39F-6F4E-96A9-8C18C8E95A24}"/>
              </a:ext>
            </a:extLst>
          </p:cNvPr>
          <p:cNvSpPr/>
          <p:nvPr/>
        </p:nvSpPr>
        <p:spPr>
          <a:xfrm>
            <a:off x="9149408" y="3775341"/>
            <a:ext cx="116111" cy="116111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CC43CAD-B688-C04D-9CE0-63B399C6A114}"/>
              </a:ext>
            </a:extLst>
          </p:cNvPr>
          <p:cNvSpPr/>
          <p:nvPr/>
        </p:nvSpPr>
        <p:spPr>
          <a:xfrm>
            <a:off x="6107452" y="2852052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153B8F1-B02F-234B-B9EA-7C6AA5CF4420}"/>
              </a:ext>
            </a:extLst>
          </p:cNvPr>
          <p:cNvSpPr/>
          <p:nvPr/>
        </p:nvSpPr>
        <p:spPr>
          <a:xfrm>
            <a:off x="4284131" y="3274914"/>
            <a:ext cx="116111" cy="11611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13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5C14F-2216-8743-BF54-D7B4593F0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6753" y="3071187"/>
            <a:ext cx="10338367" cy="715626"/>
          </a:xfrm>
        </p:spPr>
        <p:txBody>
          <a:bodyPr/>
          <a:lstStyle/>
          <a:p>
            <a:r>
              <a:rPr lang="en-US"/>
              <a:t>Businesses We Serv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5D8350D-E1F1-6C49-BF69-279FD221264F}"/>
              </a:ext>
            </a:extLst>
          </p:cNvPr>
          <p:cNvCxnSpPr>
            <a:cxnSpLocks/>
          </p:cNvCxnSpPr>
          <p:nvPr/>
        </p:nvCxnSpPr>
        <p:spPr>
          <a:xfrm>
            <a:off x="1092758" y="2857500"/>
            <a:ext cx="0" cy="1143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92212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016D2-B04C-124B-B4E1-E74A2C0BB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sinesses We Serv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6F9859-E6DA-6D43-99EE-F7023900FCC3}"/>
              </a:ext>
            </a:extLst>
          </p:cNvPr>
          <p:cNvCxnSpPr>
            <a:cxnSpLocks/>
          </p:cNvCxnSpPr>
          <p:nvPr/>
        </p:nvCxnSpPr>
        <p:spPr>
          <a:xfrm>
            <a:off x="1895" y="0"/>
            <a:ext cx="0" cy="6858000"/>
          </a:xfrm>
          <a:prstGeom prst="line">
            <a:avLst/>
          </a:prstGeom>
          <a:noFill/>
          <a:ln w="635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955C3F7-B03A-0440-BCDE-7FFBBAEE8758}"/>
              </a:ext>
            </a:extLst>
          </p:cNvPr>
          <p:cNvCxnSpPr>
            <a:cxnSpLocks/>
          </p:cNvCxnSpPr>
          <p:nvPr/>
        </p:nvCxnSpPr>
        <p:spPr>
          <a:xfrm>
            <a:off x="70783" y="0"/>
            <a:ext cx="0" cy="6858000"/>
          </a:xfrm>
          <a:prstGeom prst="line">
            <a:avLst/>
          </a:prstGeom>
          <a:noFill/>
          <a:ln w="152400" cap="flat" cmpd="sng" algn="ctr">
            <a:gradFill>
              <a:gsLst>
                <a:gs pos="0">
                  <a:schemeClr val="accent3"/>
                </a:gs>
                <a:gs pos="100000">
                  <a:schemeClr val="accent4"/>
                </a:gs>
              </a:gsLst>
              <a:lin ang="5400000" scaled="1"/>
            </a:gradFill>
            <a:prstDash val="solid"/>
            <a:miter lim="800000"/>
          </a:ln>
          <a:effectLst/>
        </p:spPr>
      </p:cxnSp>
      <p:pic>
        <p:nvPicPr>
          <p:cNvPr id="4" name="Picture 3" descr="A picture containing kitchen appliance&#10;&#10;Description automatically generated">
            <a:extLst>
              <a:ext uri="{FF2B5EF4-FFF2-40B4-BE49-F238E27FC236}">
                <a16:creationId xmlns:a16="http://schemas.microsoft.com/office/drawing/2014/main" id="{6CAC37CA-2110-1E42-897D-8821D754D2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14" y="1763669"/>
            <a:ext cx="3591877" cy="3892063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D22037FE-008E-BF48-AFC3-D71EC4099D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6396" y="1763669"/>
            <a:ext cx="3591877" cy="389206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386E7A3C-D455-2647-BBBF-B63CD1A8C06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60977" y="1763669"/>
            <a:ext cx="3591877" cy="389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152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39880-52DC-4345-93F8-35D3FB464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8421D9-2778-9447-BCB4-0D842552E8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367" y="1400239"/>
            <a:ext cx="2808286" cy="247447"/>
          </a:xfrm>
        </p:spPr>
        <p:txBody>
          <a:bodyPr/>
          <a:lstStyle/>
          <a:p>
            <a:r>
              <a:rPr lang="en-US" sz="1400"/>
              <a:t>LV BUSINESS AR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3D700A-A2EB-B445-9B31-F9514DA0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366" y="1725554"/>
            <a:ext cx="2811732" cy="2108818"/>
          </a:xfrm>
        </p:spPr>
        <p:txBody>
          <a:bodyPr/>
          <a:lstStyle/>
          <a:p>
            <a:r>
              <a:rPr lang="en-US" sz="1400"/>
              <a:t>Automotive OEMs</a:t>
            </a:r>
          </a:p>
          <a:p>
            <a:r>
              <a:rPr lang="en-US" sz="1400"/>
              <a:t>Plastic and composite components</a:t>
            </a:r>
          </a:p>
          <a:p>
            <a:r>
              <a:rPr lang="en-US" sz="1400"/>
              <a:t>Automotive coatings </a:t>
            </a:r>
            <a:br>
              <a:rPr lang="en-US" sz="1400"/>
            </a:br>
            <a:r>
              <a:rPr lang="en-US" sz="1400"/>
              <a:t>application servic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F085270-1877-D24B-9CA5-C6657146123D}"/>
              </a:ext>
            </a:extLst>
          </p:cNvPr>
          <p:cNvSpPr txBox="1">
            <a:spLocks/>
          </p:cNvSpPr>
          <p:nvPr/>
        </p:nvSpPr>
        <p:spPr>
          <a:xfrm>
            <a:off x="3788726" y="1400239"/>
            <a:ext cx="2808286" cy="2474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LV HIGHLIGHTS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64A5DA09-D72E-434E-B02E-D8132B173BAD}"/>
              </a:ext>
            </a:extLst>
          </p:cNvPr>
          <p:cNvSpPr txBox="1">
            <a:spLocks/>
          </p:cNvSpPr>
          <p:nvPr/>
        </p:nvSpPr>
        <p:spPr>
          <a:xfrm>
            <a:off x="3788725" y="1725554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Broadest portfolio of </a:t>
            </a:r>
            <a:br>
              <a:rPr lang="en-US" sz="1400"/>
            </a:br>
            <a:r>
              <a:rPr lang="en-US" sz="1400"/>
              <a:t>harmonized coating technology </a:t>
            </a:r>
          </a:p>
          <a:p>
            <a:r>
              <a:rPr lang="en-US" sz="1400"/>
              <a:t>Industry leading premium clearcoats</a:t>
            </a:r>
          </a:p>
          <a:p>
            <a:r>
              <a:rPr lang="en-US" sz="1400"/>
              <a:t>E-coat that enables </a:t>
            </a:r>
            <a:br>
              <a:rPr lang="en-US" sz="1400"/>
            </a:br>
            <a:r>
              <a:rPr lang="en-US" sz="1400"/>
              <a:t>expanded list of substrates </a:t>
            </a:r>
            <a:br>
              <a:rPr lang="en-US" sz="1400"/>
            </a:br>
            <a:r>
              <a:rPr lang="en-US" sz="1400"/>
              <a:t>and EV platforms </a:t>
            </a:r>
          </a:p>
          <a:p>
            <a:endParaRPr lang="en-US" sz="1400"/>
          </a:p>
          <a:p>
            <a:endParaRPr lang="en-US" sz="140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CDB28E1-C690-E542-8110-844776BE85E9}"/>
              </a:ext>
            </a:extLst>
          </p:cNvPr>
          <p:cNvSpPr txBox="1">
            <a:spLocks/>
          </p:cNvSpPr>
          <p:nvPr/>
        </p:nvSpPr>
        <p:spPr>
          <a:xfrm>
            <a:off x="478367" y="4108715"/>
            <a:ext cx="2808286" cy="2474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V BUSINESS AREAS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5826ECE1-155B-4541-934A-8FA310C33909}"/>
              </a:ext>
            </a:extLst>
          </p:cNvPr>
          <p:cNvSpPr txBox="1">
            <a:spLocks/>
          </p:cNvSpPr>
          <p:nvPr/>
        </p:nvSpPr>
        <p:spPr>
          <a:xfrm>
            <a:off x="478366" y="4434030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Heavy duty and utility trucks</a:t>
            </a:r>
          </a:p>
          <a:p>
            <a:r>
              <a:rPr lang="en-US" sz="1400"/>
              <a:t>Rail, bus and machinery</a:t>
            </a:r>
          </a:p>
          <a:p>
            <a:r>
              <a:rPr lang="en-US" sz="1400"/>
              <a:t>Recreational and off-road</a:t>
            </a:r>
          </a:p>
          <a:p>
            <a:r>
              <a:rPr lang="en-US" sz="1400"/>
              <a:t>Light marine and aviation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9DCBDDA-E05A-9249-8082-95156959AC3A}"/>
              </a:ext>
            </a:extLst>
          </p:cNvPr>
          <p:cNvSpPr txBox="1">
            <a:spLocks/>
          </p:cNvSpPr>
          <p:nvPr/>
        </p:nvSpPr>
        <p:spPr>
          <a:xfrm>
            <a:off x="3788726" y="4108715"/>
            <a:ext cx="2808286" cy="2474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2700" indent="-12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800" b="0" i="0" kern="1200" spc="3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V HIGHLIGHTS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B4399A7E-C8FA-274C-87B6-BB9895294E0F}"/>
              </a:ext>
            </a:extLst>
          </p:cNvPr>
          <p:cNvSpPr txBox="1">
            <a:spLocks/>
          </p:cNvSpPr>
          <p:nvPr/>
        </p:nvSpPr>
        <p:spPr>
          <a:xfrm>
            <a:off x="3788725" y="4434030"/>
            <a:ext cx="2811732" cy="210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Benchmark for appearance </a:t>
            </a:r>
            <a:br>
              <a:rPr lang="en-US" sz="1400"/>
            </a:br>
            <a:r>
              <a:rPr lang="en-US" sz="1400"/>
              <a:t>and productivity for truck </a:t>
            </a:r>
            <a:br>
              <a:rPr lang="en-US" sz="1400"/>
            </a:br>
            <a:r>
              <a:rPr lang="en-US" sz="1400"/>
              <a:t>and bus market </a:t>
            </a:r>
          </a:p>
          <a:p>
            <a:r>
              <a:rPr lang="en-US" sz="1400"/>
              <a:t>Broadest custom color solutions </a:t>
            </a:r>
          </a:p>
          <a:p>
            <a:r>
              <a:rPr lang="en-US" sz="1400"/>
              <a:t>Industry leading corrosion </a:t>
            </a:r>
            <a:br>
              <a:rPr lang="en-US" sz="1400"/>
            </a:br>
            <a:r>
              <a:rPr lang="en-US" sz="1400"/>
              <a:t>and chip resistance </a:t>
            </a:r>
          </a:p>
        </p:txBody>
      </p:sp>
      <p:pic>
        <p:nvPicPr>
          <p:cNvPr id="48" name="Picture Placeholder 6" descr="A picture containing car, white, control panel&#10;&#10;Description automatically generated">
            <a:extLst>
              <a:ext uri="{FF2B5EF4-FFF2-40B4-BE49-F238E27FC236}">
                <a16:creationId xmlns:a16="http://schemas.microsoft.com/office/drawing/2014/main" id="{F28DA9A7-180E-A64F-A996-F3330E0EBA6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3467" y="-2"/>
            <a:ext cx="4198533" cy="6858001"/>
          </a:xfrm>
          <a:prstGeom prst="rect">
            <a:avLst/>
          </a:prstGeom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9DEF4BF-00A5-7B48-9AF5-B26AC48ACC05}"/>
              </a:ext>
            </a:extLst>
          </p:cNvPr>
          <p:cNvCxnSpPr/>
          <p:nvPr/>
        </p:nvCxnSpPr>
        <p:spPr>
          <a:xfrm>
            <a:off x="3426349" y="1400239"/>
            <a:ext cx="0" cy="450693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1CBDBAA-A42B-E84A-AD19-248F4C27A5C8}"/>
              </a:ext>
            </a:extLst>
          </p:cNvPr>
          <p:cNvCxnSpPr>
            <a:cxnSpLocks/>
          </p:cNvCxnSpPr>
          <p:nvPr/>
        </p:nvCxnSpPr>
        <p:spPr>
          <a:xfrm>
            <a:off x="490615" y="3730200"/>
            <a:ext cx="611436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ED923449-901A-5D4A-B209-B6AAC62BC768}"/>
              </a:ext>
            </a:extLst>
          </p:cNvPr>
          <p:cNvGrpSpPr/>
          <p:nvPr/>
        </p:nvGrpSpPr>
        <p:grpSpPr>
          <a:xfrm>
            <a:off x="7534871" y="511603"/>
            <a:ext cx="2811732" cy="2612945"/>
            <a:chOff x="7534871" y="511603"/>
            <a:chExt cx="2811732" cy="2612945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37EFBA5-52E6-F443-84B2-E3E5EC13F871}"/>
                </a:ext>
              </a:extLst>
            </p:cNvPr>
            <p:cNvSpPr/>
            <p:nvPr/>
          </p:nvSpPr>
          <p:spPr>
            <a:xfrm>
              <a:off x="7634265" y="511603"/>
              <a:ext cx="2612944" cy="261294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8BF7240B-A814-2542-8BAF-34B65967455F}"/>
                </a:ext>
              </a:extLst>
            </p:cNvPr>
            <p:cNvGrpSpPr/>
            <p:nvPr/>
          </p:nvGrpSpPr>
          <p:grpSpPr>
            <a:xfrm>
              <a:off x="7534871" y="1280133"/>
              <a:ext cx="2811732" cy="856420"/>
              <a:chOff x="7481333" y="902202"/>
              <a:chExt cx="2811732" cy="856420"/>
            </a:xfrm>
          </p:grpSpPr>
          <p:sp>
            <p:nvSpPr>
              <p:cNvPr id="101" name="Text Placeholder 2">
                <a:extLst>
                  <a:ext uri="{FF2B5EF4-FFF2-40B4-BE49-F238E27FC236}">
                    <a16:creationId xmlns:a16="http://schemas.microsoft.com/office/drawing/2014/main" id="{2E5D7DCE-16CE-8F4A-8A62-9B37252AE30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1</a:t>
                </a:r>
              </a:p>
            </p:txBody>
          </p:sp>
          <p:sp>
            <p:nvSpPr>
              <p:cNvPr id="102" name="Text Placeholder 3">
                <a:extLst>
                  <a:ext uri="{FF2B5EF4-FFF2-40B4-BE49-F238E27FC236}">
                    <a16:creationId xmlns:a16="http://schemas.microsoft.com/office/drawing/2014/main" id="{72C3150C-0B2A-D140-905D-C1E91A0EC86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in Truck and Bus</a:t>
                </a:r>
              </a:p>
            </p:txBody>
          </p:sp>
        </p:grpSp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19549C84-00B8-2546-9B4D-6964EF9FD0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57631" y="2463765"/>
              <a:ext cx="929437" cy="359101"/>
            </a:xfrm>
            <a:prstGeom prst="rect">
              <a:avLst/>
            </a:prstGeom>
          </p:spPr>
        </p:pic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A2A42358-0CEE-644A-A725-B30E2750E71F}"/>
                </a:ext>
              </a:extLst>
            </p:cNvPr>
            <p:cNvSpPr/>
            <p:nvPr/>
          </p:nvSpPr>
          <p:spPr>
            <a:xfrm>
              <a:off x="7740553" y="2367159"/>
              <a:ext cx="2363592" cy="757389"/>
            </a:xfrm>
            <a:custGeom>
              <a:avLst/>
              <a:gdLst>
                <a:gd name="connsiteX0" fmla="*/ 0 w 2363592"/>
                <a:gd name="connsiteY0" fmla="*/ 0 h 757389"/>
                <a:gd name="connsiteX1" fmla="*/ 2363592 w 2363592"/>
                <a:gd name="connsiteY1" fmla="*/ 0 h 757389"/>
                <a:gd name="connsiteX2" fmla="*/ 2265143 w 2363592"/>
                <a:gd name="connsiteY2" fmla="*/ 181378 h 757389"/>
                <a:gd name="connsiteX3" fmla="*/ 1181796 w 2363592"/>
                <a:gd name="connsiteY3" fmla="*/ 757389 h 757389"/>
                <a:gd name="connsiteX4" fmla="*/ 98449 w 2363592"/>
                <a:gd name="connsiteY4" fmla="*/ 181378 h 75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592" h="757389">
                  <a:moveTo>
                    <a:pt x="0" y="0"/>
                  </a:moveTo>
                  <a:lnTo>
                    <a:pt x="2363592" y="0"/>
                  </a:lnTo>
                  <a:lnTo>
                    <a:pt x="2265143" y="181378"/>
                  </a:lnTo>
                  <a:cubicBezTo>
                    <a:pt x="2030361" y="528902"/>
                    <a:pt x="1632762" y="757389"/>
                    <a:pt x="1181796" y="757389"/>
                  </a:cubicBezTo>
                  <a:cubicBezTo>
                    <a:pt x="730830" y="757389"/>
                    <a:pt x="333231" y="528902"/>
                    <a:pt x="98449" y="181378"/>
                  </a:cubicBezTo>
                  <a:close/>
                </a:path>
              </a:pathLst>
            </a:custGeom>
            <a:solidFill>
              <a:schemeClr val="accent3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51281ACF-A127-9245-9463-614DA70E6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511745" y="2545423"/>
              <a:ext cx="875323" cy="338193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536EF65-8D82-F344-91E6-7C4565FC237E}"/>
              </a:ext>
            </a:extLst>
          </p:cNvPr>
          <p:cNvGrpSpPr/>
          <p:nvPr/>
        </p:nvGrpSpPr>
        <p:grpSpPr>
          <a:xfrm>
            <a:off x="8935407" y="3764089"/>
            <a:ext cx="2811732" cy="2612945"/>
            <a:chOff x="8935407" y="3764089"/>
            <a:chExt cx="2811732" cy="2612945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B579E294-E9FF-8D4E-8E96-7CAF025EC815}"/>
                </a:ext>
              </a:extLst>
            </p:cNvPr>
            <p:cNvSpPr/>
            <p:nvPr/>
          </p:nvSpPr>
          <p:spPr>
            <a:xfrm>
              <a:off x="9034801" y="3764089"/>
              <a:ext cx="2612944" cy="261294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accent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B440DA34-8891-C94A-BAA1-7A02CEFB8598}"/>
                </a:ext>
              </a:extLst>
            </p:cNvPr>
            <p:cNvGrpSpPr/>
            <p:nvPr/>
          </p:nvGrpSpPr>
          <p:grpSpPr>
            <a:xfrm>
              <a:off x="8935407" y="4532619"/>
              <a:ext cx="2811732" cy="856420"/>
              <a:chOff x="7481333" y="902202"/>
              <a:chExt cx="2811732" cy="856420"/>
            </a:xfrm>
          </p:grpSpPr>
          <p:sp>
            <p:nvSpPr>
              <p:cNvPr id="119" name="Text Placeholder 2">
                <a:extLst>
                  <a:ext uri="{FF2B5EF4-FFF2-40B4-BE49-F238E27FC236}">
                    <a16:creationId xmlns:a16="http://schemas.microsoft.com/office/drawing/2014/main" id="{96846B4B-667A-DD40-A4B2-3CF82BB321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4" y="902202"/>
                <a:ext cx="2808286" cy="247447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2700" indent="-127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tabLst/>
                  <a:defRPr sz="1800" b="0" i="0" kern="1200" spc="30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4800" b="1"/>
                  <a:t>#2</a:t>
                </a:r>
              </a:p>
            </p:txBody>
          </p:sp>
          <p:sp>
            <p:nvSpPr>
              <p:cNvPr id="120" name="Text Placeholder 3">
                <a:extLst>
                  <a:ext uri="{FF2B5EF4-FFF2-40B4-BE49-F238E27FC236}">
                    <a16:creationId xmlns:a16="http://schemas.microsoft.com/office/drawing/2014/main" id="{B6C3B975-DCD1-6C46-9351-FA592BC9298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1333" y="1413238"/>
                <a:ext cx="2811732" cy="345384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2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1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000" b="0" i="0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2000"/>
                  <a:t>in Light Vehicle</a:t>
                </a:r>
              </a:p>
            </p:txBody>
          </p:sp>
        </p:grp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B7A7B77C-D809-C84B-9290-513DA402F09D}"/>
                </a:ext>
              </a:extLst>
            </p:cNvPr>
            <p:cNvSpPr/>
            <p:nvPr/>
          </p:nvSpPr>
          <p:spPr>
            <a:xfrm>
              <a:off x="9141089" y="5619645"/>
              <a:ext cx="2363592" cy="757389"/>
            </a:xfrm>
            <a:custGeom>
              <a:avLst/>
              <a:gdLst>
                <a:gd name="connsiteX0" fmla="*/ 0 w 2363592"/>
                <a:gd name="connsiteY0" fmla="*/ 0 h 757389"/>
                <a:gd name="connsiteX1" fmla="*/ 2363592 w 2363592"/>
                <a:gd name="connsiteY1" fmla="*/ 0 h 757389"/>
                <a:gd name="connsiteX2" fmla="*/ 2265143 w 2363592"/>
                <a:gd name="connsiteY2" fmla="*/ 181378 h 757389"/>
                <a:gd name="connsiteX3" fmla="*/ 1181796 w 2363592"/>
                <a:gd name="connsiteY3" fmla="*/ 757389 h 757389"/>
                <a:gd name="connsiteX4" fmla="*/ 98449 w 2363592"/>
                <a:gd name="connsiteY4" fmla="*/ 181378 h 75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3592" h="757389">
                  <a:moveTo>
                    <a:pt x="0" y="0"/>
                  </a:moveTo>
                  <a:lnTo>
                    <a:pt x="2363592" y="0"/>
                  </a:lnTo>
                  <a:lnTo>
                    <a:pt x="2265143" y="181378"/>
                  </a:lnTo>
                  <a:cubicBezTo>
                    <a:pt x="2030361" y="528902"/>
                    <a:pt x="1632762" y="757389"/>
                    <a:pt x="1181796" y="757389"/>
                  </a:cubicBezTo>
                  <a:cubicBezTo>
                    <a:pt x="730830" y="757389"/>
                    <a:pt x="333231" y="528902"/>
                    <a:pt x="98449" y="181378"/>
                  </a:cubicBezTo>
                  <a:close/>
                </a:path>
              </a:pathLst>
            </a:custGeom>
            <a:solidFill>
              <a:schemeClr val="accent3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44F1B633-BB76-8042-8F76-455B0827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14803" y="5804525"/>
              <a:ext cx="863600" cy="292100"/>
            </a:xfrm>
            <a:prstGeom prst="rect">
              <a:avLst/>
            </a:prstGeom>
          </p:spPr>
        </p:pic>
      </p:grpSp>
      <p:sp>
        <p:nvSpPr>
          <p:cNvPr id="124" name="Subtitle 2">
            <a:extLst>
              <a:ext uri="{FF2B5EF4-FFF2-40B4-BE49-F238E27FC236}">
                <a16:creationId xmlns:a16="http://schemas.microsoft.com/office/drawing/2014/main" id="{B140065C-E6E1-AF4E-BC63-5563E11A641F}"/>
              </a:ext>
            </a:extLst>
          </p:cNvPr>
          <p:cNvSpPr txBox="1">
            <a:spLocks/>
          </p:cNvSpPr>
          <p:nvPr/>
        </p:nvSpPr>
        <p:spPr>
          <a:xfrm>
            <a:off x="10921999" y="6514490"/>
            <a:ext cx="579123" cy="2687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80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487A546-8333-DF48-981B-461632B5F9AB}" type="slidenum">
              <a:rPr lang="en-US" sz="900" b="0" i="0" baseline="0" smtClean="0">
                <a:latin typeface="Arial" panose="020B0604020202020204" pitchFamily="34" charset="0"/>
              </a:rPr>
              <a:pPr algn="l"/>
              <a:t>9</a:t>
            </a:fld>
            <a:endParaRPr lang="en-US" sz="900" b="0" i="0" baseline="0">
              <a:latin typeface="Arial" panose="020B0604020202020204" pitchFamily="34" charset="0"/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2D9D2C51-CE96-CE4A-89CB-C56C9F24BBA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278" y="6421120"/>
            <a:ext cx="477297" cy="386080"/>
          </a:xfrm>
          <a:prstGeom prst="rect">
            <a:avLst/>
          </a:prstGeom>
        </p:spPr>
      </p:pic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1DA831C-44D8-174C-BE8C-46E79D6DCE9F}"/>
              </a:ext>
            </a:extLst>
          </p:cNvPr>
          <p:cNvSpPr txBox="1">
            <a:spLocks/>
          </p:cNvSpPr>
          <p:nvPr/>
        </p:nvSpPr>
        <p:spPr>
          <a:xfrm>
            <a:off x="388070" y="6372684"/>
            <a:ext cx="2623040" cy="276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/>
              <a:t>LV = Light Vehicle. CV = Commercial Vehicle</a:t>
            </a:r>
          </a:p>
        </p:txBody>
      </p:sp>
    </p:spTree>
    <p:extLst>
      <p:ext uri="{BB962C8B-B14F-4D97-AF65-F5344CB8AC3E}">
        <p14:creationId xmlns:p14="http://schemas.microsoft.com/office/powerpoint/2010/main" val="73752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xalta 2022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49142C"/>
      </a:accent1>
      <a:accent2>
        <a:srgbClr val="914161"/>
      </a:accent2>
      <a:accent3>
        <a:srgbClr val="0082DC"/>
      </a:accent3>
      <a:accent4>
        <a:srgbClr val="184CA0"/>
      </a:accent4>
      <a:accent5>
        <a:srgbClr val="73B53B"/>
      </a:accent5>
      <a:accent6>
        <a:srgbClr val="A9B824"/>
      </a:accent6>
      <a:hlink>
        <a:srgbClr val="000000"/>
      </a:hlink>
      <a:folHlink>
        <a:srgbClr val="C82027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alta_ppt_template_widescreen_new_2017" id="{F0F047D8-CC1A-2347-846C-3232E930A167}" vid="{BE6805FD-5FFB-3F43-A8BC-984D84076215}"/>
    </a:ext>
  </a:extLst>
</a:theme>
</file>

<file path=ppt/theme/theme2.xml><?xml version="1.0" encoding="utf-8"?>
<a:theme xmlns:a="http://schemas.openxmlformats.org/drawingml/2006/main" name="2_Office Theme">
  <a:themeElements>
    <a:clrScheme name="Axalta 2022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49142C"/>
      </a:accent1>
      <a:accent2>
        <a:srgbClr val="914161"/>
      </a:accent2>
      <a:accent3>
        <a:srgbClr val="0082DC"/>
      </a:accent3>
      <a:accent4>
        <a:srgbClr val="184CA0"/>
      </a:accent4>
      <a:accent5>
        <a:srgbClr val="73B53B"/>
      </a:accent5>
      <a:accent6>
        <a:srgbClr val="A9B824"/>
      </a:accent6>
      <a:hlink>
        <a:srgbClr val="000000"/>
      </a:hlink>
      <a:folHlink>
        <a:srgbClr val="C82027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alta_ppt_template_widescreen_new_2017" id="{F0F047D8-CC1A-2347-846C-3232E930A167}" vid="{BE6805FD-5FFB-3F43-A8BC-984D8407621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167e9a-2f14-4bb2-842b-5809253df5f8">
      <UserInfo>
        <DisplayName>James Kim</DisplayName>
        <AccountId>3439</AccountId>
        <AccountType/>
      </UserInfo>
      <UserInfo>
        <DisplayName>Veronica Clavijo</DisplayName>
        <AccountId>3534</AccountId>
        <AccountType/>
      </UserInfo>
      <UserInfo>
        <DisplayName>Tony Fan</DisplayName>
        <AccountId>4344</AccountId>
        <AccountType/>
      </UserInfo>
      <UserInfo>
        <DisplayName>Elzbieta Wojciechowska-Zalewska</DisplayName>
        <AccountId>1972</AccountId>
        <AccountType/>
      </UserInfo>
      <UserInfo>
        <DisplayName>Marthe Bos</DisplayName>
        <AccountId>4783</AccountId>
        <AccountType/>
      </UserInfo>
      <UserInfo>
        <DisplayName>DoSung Kim</DisplayName>
        <AccountId>4855</AccountId>
        <AccountType/>
      </UserInfo>
      <UserInfo>
        <DisplayName>Jeff A Kinnaird</DisplayName>
        <AccountId>5826</AccountId>
        <AccountType/>
      </UserInfo>
      <UserInfo>
        <DisplayName>Rajiv Wadke</DisplayName>
        <AccountId>5231</AccountId>
        <AccountType/>
      </UserInfo>
      <UserInfo>
        <DisplayName>Rainer Wiesner</DisplayName>
        <AccountId>4767</AccountId>
        <AccountType/>
      </UserInfo>
      <UserInfo>
        <DisplayName>Amit N Shah</DisplayName>
        <AccountId>340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4528DB89646A4DBD7C301D45EC3A6C" ma:contentTypeVersion="12" ma:contentTypeDescription="Create a new document." ma:contentTypeScope="" ma:versionID="ba9b3c75a43e5770f2934b891ddaf0be">
  <xsd:schema xmlns:xsd="http://www.w3.org/2001/XMLSchema" xmlns:xs="http://www.w3.org/2001/XMLSchema" xmlns:p="http://schemas.microsoft.com/office/2006/metadata/properties" xmlns:ns2="9431c229-50fd-43e5-929f-f5c063a02eb5" xmlns:ns3="9d167e9a-2f14-4bb2-842b-5809253df5f8" targetNamespace="http://schemas.microsoft.com/office/2006/metadata/properties" ma:root="true" ma:fieldsID="db1ea5075057fd3cbaff45cea52396fe" ns2:_="" ns3:_="">
    <xsd:import namespace="9431c229-50fd-43e5-929f-f5c063a02eb5"/>
    <xsd:import namespace="9d167e9a-2f14-4bb2-842b-5809253df5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31c229-50fd-43e5-929f-f5c063a02e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67e9a-2f14-4bb2-842b-5809253df5f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9DCE5B-21BF-431D-984F-17010B1AAC25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9431c229-50fd-43e5-929f-f5c063a02eb5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9d167e9a-2f14-4bb2-842b-5809253df5f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0B55FE1-7886-4CF1-BE59-1B0C8E9DFA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31c229-50fd-43e5-929f-f5c063a02eb5"/>
    <ds:schemaRef ds:uri="9d167e9a-2f14-4bb2-842b-5809253df5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0BB2B1-00AF-4A4E-B67A-00F75CE529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xalta_ppt_template_widescreen_new_2017</Template>
  <TotalTime>454</TotalTime>
  <Words>919</Words>
  <Application>Microsoft Office PowerPoint</Application>
  <PresentationFormat>Widescreen</PresentationFormat>
  <Paragraphs>255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1_Office Theme</vt:lpstr>
      <vt:lpstr>2_Office Theme</vt:lpstr>
      <vt:lpstr>think-cell Slide</vt:lpstr>
      <vt:lpstr>Company Overview</vt:lpstr>
      <vt:lpstr>Axalta Overview</vt:lpstr>
      <vt:lpstr>Who We Are</vt:lpstr>
      <vt:lpstr>Axalta at a Glance</vt:lpstr>
      <vt:lpstr>Our Global Reach</vt:lpstr>
      <vt:lpstr>World-Class Technology Infrastructure and Expertise</vt:lpstr>
      <vt:lpstr>Businesses We Serve</vt:lpstr>
      <vt:lpstr>Businesses We Serve</vt:lpstr>
      <vt:lpstr>Mobility</vt:lpstr>
      <vt:lpstr>Industrial</vt:lpstr>
      <vt:lpstr>Refinish</vt:lpstr>
      <vt:lpstr>Our Global Initiatives</vt:lpstr>
      <vt:lpstr>Innovation at Axalta</vt:lpstr>
      <vt:lpstr>Innovation: Strategic Approach</vt:lpstr>
      <vt:lpstr>Sustainability at Axalta: Our 2030 Goal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a Coccellato</dc:creator>
  <cp:lastModifiedBy>Kusal Bandyopadhyay</cp:lastModifiedBy>
  <cp:revision>4</cp:revision>
  <cp:lastPrinted>2020-12-04T15:31:03Z</cp:lastPrinted>
  <dcterms:created xsi:type="dcterms:W3CDTF">2017-09-13T12:30:57Z</dcterms:created>
  <dcterms:modified xsi:type="dcterms:W3CDTF">2022-05-03T13:0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4528DB89646A4DBD7C301D45EC3A6C</vt:lpwstr>
  </property>
  <property fmtid="{D5CDD505-2E9C-101B-9397-08002B2CF9AE}" pid="3" name="_dlc_DocIdItemGuid">
    <vt:lpwstr>ef7449f2-b81f-4734-9c15-a1c3cdc91eea</vt:lpwstr>
  </property>
  <property fmtid="{D5CDD505-2E9C-101B-9397-08002B2CF9AE}" pid="4" name="MSIP_Label_cc23fa3b-1752-4359-9048-1d590bd7e892_Enabled">
    <vt:lpwstr>true</vt:lpwstr>
  </property>
  <property fmtid="{D5CDD505-2E9C-101B-9397-08002B2CF9AE}" pid="5" name="MSIP_Label_cc23fa3b-1752-4359-9048-1d590bd7e892_SetDate">
    <vt:lpwstr>2022-05-03T13:01:53Z</vt:lpwstr>
  </property>
  <property fmtid="{D5CDD505-2E9C-101B-9397-08002B2CF9AE}" pid="6" name="MSIP_Label_cc23fa3b-1752-4359-9048-1d590bd7e892_Method">
    <vt:lpwstr>Standard</vt:lpwstr>
  </property>
  <property fmtid="{D5CDD505-2E9C-101B-9397-08002B2CF9AE}" pid="7" name="MSIP_Label_cc23fa3b-1752-4359-9048-1d590bd7e892_Name">
    <vt:lpwstr>cc23fa3b-1752-4359-9048-1d590bd7e892</vt:lpwstr>
  </property>
  <property fmtid="{D5CDD505-2E9C-101B-9397-08002B2CF9AE}" pid="8" name="MSIP_Label_cc23fa3b-1752-4359-9048-1d590bd7e892_SiteId">
    <vt:lpwstr>8b4a07ae-cf39-41d3-8e23-5c8d4c152da5</vt:lpwstr>
  </property>
  <property fmtid="{D5CDD505-2E9C-101B-9397-08002B2CF9AE}" pid="9" name="MSIP_Label_cc23fa3b-1752-4359-9048-1d590bd7e892_ActionId">
    <vt:lpwstr/>
  </property>
  <property fmtid="{D5CDD505-2E9C-101B-9397-08002B2CF9AE}" pid="10" name="MSIP_Label_cc23fa3b-1752-4359-9048-1d590bd7e892_ContentBits">
    <vt:lpwstr>2</vt:lpwstr>
  </property>
</Properties>
</file>